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4"/>
  </p:sldMasterIdLst>
  <p:sldIdLst>
    <p:sldId id="257" r:id="rId5"/>
  </p:sldIdLst>
  <p:sldSz cx="10691813" cy="7559675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47DB82C-53F2-2B3B-995D-529A19B64E72}" name="Kasia Mierzejewska" initials="KM" userId="S::Kasia.Mierzejewska@nousgroup.com::dc82ed6e-3d25-4e80-83a1-757ba10a434b" providerId="AD"/>
  <p188:author id="{3853C834-174E-570C-662B-305B92BE61A5}" name="Jared Johnson" initials="JJ" userId="S::jared.johnson@nousgroup.com.au::8e10f9e5-3807-4b93-9bfe-bd2ebc42a001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17D7D"/>
    <a:srgbClr val="37465B"/>
    <a:srgbClr val="FDBE57"/>
    <a:srgbClr val="B5202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C40439E2-B07C-49B2-B6B0-65C05DC883ED}" v="3" dt="2023-07-31T01:07:28.258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6" autoAdjust="0"/>
    <p:restoredTop sz="94660"/>
  </p:normalViewPr>
  <p:slideViewPr>
    <p:cSldViewPr snapToGrid="0">
      <p:cViewPr varScale="1">
        <p:scale>
          <a:sx n="109" d="100"/>
          <a:sy n="109" d="100"/>
        </p:scale>
        <p:origin x="2146" y="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13" Type="http://schemas.microsoft.com/office/2018/10/relationships/authors" Target="author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12" Type="http://schemas.microsoft.com/office/2015/10/relationships/revisionInfo" Target="revisionInfo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11" Type="http://schemas.microsoft.com/office/2016/11/relationships/changesInfo" Target="changesInfos/changesInfo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lannah Tran" userId="ca071bd6-a585-4695-914d-bc8a7ace8862" providerId="ADAL" clId="{C40439E2-B07C-49B2-B6B0-65C05DC883ED}"/>
    <pc:docChg chg="modSld">
      <pc:chgData name="Alannah Tran" userId="ca071bd6-a585-4695-914d-bc8a7ace8862" providerId="ADAL" clId="{C40439E2-B07C-49B2-B6B0-65C05DC883ED}" dt="2023-07-31T01:06:56.589" v="1"/>
      <pc:docMkLst>
        <pc:docMk/>
      </pc:docMkLst>
      <pc:sldChg chg="modSp mod">
        <pc:chgData name="Alannah Tran" userId="ca071bd6-a585-4695-914d-bc8a7ace8862" providerId="ADAL" clId="{C40439E2-B07C-49B2-B6B0-65C05DC883ED}" dt="2023-07-31T01:06:56.589" v="1"/>
        <pc:sldMkLst>
          <pc:docMk/>
          <pc:sldMk cId="179364010" sldId="257"/>
        </pc:sldMkLst>
        <pc:graphicFrameChg chg="mod modVis">
          <ac:chgData name="Alannah Tran" userId="ca071bd6-a585-4695-914d-bc8a7ace8862" providerId="ADAL" clId="{C40439E2-B07C-49B2-B6B0-65C05DC883ED}" dt="2023-07-31T01:06:56.589" v="1"/>
          <ac:graphicFrameMkLst>
            <pc:docMk/>
            <pc:sldMk cId="179364010" sldId="257"/>
            <ac:graphicFrameMk id="12" creationId="{996997C0-ABCC-BBF3-12AD-0C7AC342FC67}"/>
          </ac:graphicFrameMkLst>
        </pc:graphicFrame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svg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068F1505-58BD-8D89-BAFD-46D28C627B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164020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068F1505-58BD-8D89-BAFD-46D28C627B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" name="Free-form: Shape 50">
            <a:extLst>
              <a:ext uri="{FF2B5EF4-FFF2-40B4-BE49-F238E27FC236}">
                <a16:creationId xmlns:a16="http://schemas.microsoft.com/office/drawing/2014/main" id="{15537C9B-4C25-A668-540C-915BC5DCFBDF}"/>
              </a:ext>
            </a:extLst>
          </p:cNvPr>
          <p:cNvSpPr/>
          <p:nvPr userDrawn="1"/>
        </p:nvSpPr>
        <p:spPr>
          <a:xfrm>
            <a:off x="0" y="2461966"/>
            <a:ext cx="10699395" cy="4400882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A3DD9C57-C900-FB86-2C43-875E69AA33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25E74D0-2044-8BDA-EA8E-0C5A6900542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pic>
        <p:nvPicPr>
          <p:cNvPr id="19" name="Graphic 18">
            <a:extLst>
              <a:ext uri="{FF2B5EF4-FFF2-40B4-BE49-F238E27FC236}">
                <a16:creationId xmlns:a16="http://schemas.microsoft.com/office/drawing/2014/main" id="{28DD7BC2-4298-2530-CB9E-B3B21FD37D0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6AA8BCE-511F-1556-14D4-2884B2E45DD0}"/>
              </a:ext>
            </a:extLst>
          </p:cNvPr>
          <p:cNvSpPr/>
          <p:nvPr userDrawn="1"/>
        </p:nvSpPr>
        <p:spPr>
          <a:xfrm>
            <a:off x="5418083" y="4372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53" name="Free-form: Shape 52">
            <a:extLst>
              <a:ext uri="{FF2B5EF4-FFF2-40B4-BE49-F238E27FC236}">
                <a16:creationId xmlns:a16="http://schemas.microsoft.com/office/drawing/2014/main" id="{6B539416-25CC-C2D3-72E7-4C65BD51B5A1}"/>
              </a:ext>
            </a:extLst>
          </p:cNvPr>
          <p:cNvSpPr/>
          <p:nvPr userDrawn="1"/>
        </p:nvSpPr>
        <p:spPr>
          <a:xfrm>
            <a:off x="6017270" y="2466725"/>
            <a:ext cx="1201788" cy="1197229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54" name="Free-form: Shape 53">
            <a:extLst>
              <a:ext uri="{FF2B5EF4-FFF2-40B4-BE49-F238E27FC236}">
                <a16:creationId xmlns:a16="http://schemas.microsoft.com/office/drawing/2014/main" id="{AE37A05A-1CA9-47EB-3D17-768B91E48B21}"/>
              </a:ext>
            </a:extLst>
          </p:cNvPr>
          <p:cNvSpPr/>
          <p:nvPr userDrawn="1"/>
        </p:nvSpPr>
        <p:spPr>
          <a:xfrm>
            <a:off x="4820678" y="2466725"/>
            <a:ext cx="1793997" cy="1197229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6A384F39-0A4B-B0FD-E107-CEA489180716}"/>
              </a:ext>
            </a:extLst>
          </p:cNvPr>
          <p:cNvSpPr/>
          <p:nvPr userDrawn="1"/>
        </p:nvSpPr>
        <p:spPr>
          <a:xfrm>
            <a:off x="7467941" y="5342481"/>
            <a:ext cx="2285375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66" name="Free-form: Shape 65">
            <a:extLst>
              <a:ext uri="{FF2B5EF4-FFF2-40B4-BE49-F238E27FC236}">
                <a16:creationId xmlns:a16="http://schemas.microsoft.com/office/drawing/2014/main" id="{3A422AEC-8593-2ABB-3C00-C4F91727399C}"/>
              </a:ext>
            </a:extLst>
          </p:cNvPr>
          <p:cNvSpPr/>
          <p:nvPr userDrawn="1"/>
        </p:nvSpPr>
        <p:spPr>
          <a:xfrm>
            <a:off x="6483849" y="5338110"/>
            <a:ext cx="2510052" cy="1954176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67" name="Free-form: Shape 66">
            <a:extLst>
              <a:ext uri="{FF2B5EF4-FFF2-40B4-BE49-F238E27FC236}">
                <a16:creationId xmlns:a16="http://schemas.microsoft.com/office/drawing/2014/main" id="{AC33B5E6-8F3D-5E3E-7D9A-EAFBCDBAC63A}"/>
              </a:ext>
            </a:extLst>
          </p:cNvPr>
          <p:cNvSpPr/>
          <p:nvPr userDrawn="1"/>
        </p:nvSpPr>
        <p:spPr>
          <a:xfrm>
            <a:off x="6700954" y="5338110"/>
            <a:ext cx="1526405" cy="1523273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69" name="Free-form: Shape 68">
            <a:extLst>
              <a:ext uri="{FF2B5EF4-FFF2-40B4-BE49-F238E27FC236}">
                <a16:creationId xmlns:a16="http://schemas.microsoft.com/office/drawing/2014/main" id="{54C5F44E-C5F1-3D65-009F-DB234152592E}"/>
              </a:ext>
            </a:extLst>
          </p:cNvPr>
          <p:cNvSpPr/>
          <p:nvPr userDrawn="1"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cxnSp>
        <p:nvCxnSpPr>
          <p:cNvPr id="70" name="Straight Connector 69">
            <a:extLst>
              <a:ext uri="{FF2B5EF4-FFF2-40B4-BE49-F238E27FC236}">
                <a16:creationId xmlns:a16="http://schemas.microsoft.com/office/drawing/2014/main" id="{A224B4F1-853F-0203-EE31-DF5D42CD7C16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Free-form: Shape 67">
            <a:extLst>
              <a:ext uri="{FF2B5EF4-FFF2-40B4-BE49-F238E27FC236}">
                <a16:creationId xmlns:a16="http://schemas.microsoft.com/office/drawing/2014/main" id="{5CB1A71F-769E-D0CB-FA51-63EAE73B574F}"/>
              </a:ext>
            </a:extLst>
          </p:cNvPr>
          <p:cNvSpPr/>
          <p:nvPr userDrawn="1"/>
        </p:nvSpPr>
        <p:spPr>
          <a:xfrm>
            <a:off x="7467943" y="5338110"/>
            <a:ext cx="2285375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323762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en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Free-form: Shape 38">
            <a:extLst>
              <a:ext uri="{FF2B5EF4-FFF2-40B4-BE49-F238E27FC236}">
                <a16:creationId xmlns:a16="http://schemas.microsoft.com/office/drawing/2014/main" id="{B3F9F954-4071-0FCB-A8F6-174F333AE253}"/>
              </a:ext>
            </a:extLst>
          </p:cNvPr>
          <p:cNvSpPr/>
          <p:nvPr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rgbClr val="00B1A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60" name="Picture Placeholder 59">
            <a:extLst>
              <a:ext uri="{FF2B5EF4-FFF2-40B4-BE49-F238E27FC236}">
                <a16:creationId xmlns:a16="http://schemas.microsoft.com/office/drawing/2014/main" id="{7B6F0F54-9CE1-47BC-8BB5-F63D9769A8E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D39926BE-0D9D-4400-A90E-88C8BB726B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36FDE619-A8FC-4AAE-B02B-476D7475B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61" name="Text Placeholder 60">
            <a:extLst>
              <a:ext uri="{FF2B5EF4-FFF2-40B4-BE49-F238E27FC236}">
                <a16:creationId xmlns:a16="http://schemas.microsoft.com/office/drawing/2014/main" id="{2DD25AD8-4B3B-5469-2A0A-638B0947814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33286" y="693804"/>
            <a:ext cx="1035472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2" name="Text Placeholder 61">
            <a:extLst>
              <a:ext uri="{FF2B5EF4-FFF2-40B4-BE49-F238E27FC236}">
                <a16:creationId xmlns:a16="http://schemas.microsoft.com/office/drawing/2014/main" id="{D4E0CD83-95C3-6463-68B5-540D5EFFF7B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5327" y="693803"/>
            <a:ext cx="1035472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52" name="Free-form: Shape 51">
            <a:extLst>
              <a:ext uri="{FF2B5EF4-FFF2-40B4-BE49-F238E27FC236}">
                <a16:creationId xmlns:a16="http://schemas.microsoft.com/office/drawing/2014/main" id="{E1058DF6-0B4D-4561-F410-CF4A6EC5587F}"/>
              </a:ext>
            </a:extLst>
          </p:cNvPr>
          <p:cNvSpPr/>
          <p:nvPr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rgbClr val="53565A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46" name="Free-form: Shape 45">
            <a:extLst>
              <a:ext uri="{FF2B5EF4-FFF2-40B4-BE49-F238E27FC236}">
                <a16:creationId xmlns:a16="http://schemas.microsoft.com/office/drawing/2014/main" id="{83821572-8A3F-6B76-EC63-FFFF39B4D8E2}"/>
              </a:ext>
            </a:extLst>
          </p:cNvPr>
          <p:cNvSpPr/>
          <p:nvPr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8" name="Free-form: Shape 47">
            <a:extLst>
              <a:ext uri="{FF2B5EF4-FFF2-40B4-BE49-F238E27FC236}">
                <a16:creationId xmlns:a16="http://schemas.microsoft.com/office/drawing/2014/main" id="{7147DF2A-84C9-29DC-6E61-6969EC837D59}"/>
              </a:ext>
            </a:extLst>
          </p:cNvPr>
          <p:cNvSpPr/>
          <p:nvPr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55" name="Free-form: Shape 54">
            <a:extLst>
              <a:ext uri="{FF2B5EF4-FFF2-40B4-BE49-F238E27FC236}">
                <a16:creationId xmlns:a16="http://schemas.microsoft.com/office/drawing/2014/main" id="{BD8D172D-4A33-0DD4-E56D-113639EAFAE9}"/>
              </a:ext>
            </a:extLst>
          </p:cNvPr>
          <p:cNvSpPr/>
          <p:nvPr/>
        </p:nvSpPr>
        <p:spPr>
          <a:xfrm>
            <a:off x="375554" y="6857741"/>
            <a:ext cx="10319530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56" name="Free-form: Shape 55">
            <a:extLst>
              <a:ext uri="{FF2B5EF4-FFF2-40B4-BE49-F238E27FC236}">
                <a16:creationId xmlns:a16="http://schemas.microsoft.com/office/drawing/2014/main" id="{4E22A3CD-7A86-3297-24D4-607873FB419F}"/>
              </a:ext>
            </a:extLst>
          </p:cNvPr>
          <p:cNvSpPr/>
          <p:nvPr/>
        </p:nvSpPr>
        <p:spPr>
          <a:xfrm>
            <a:off x="372287" y="-4064"/>
            <a:ext cx="10319530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63" name="Text Placeholder 62">
            <a:extLst>
              <a:ext uri="{FF2B5EF4-FFF2-40B4-BE49-F238E27FC236}">
                <a16:creationId xmlns:a16="http://schemas.microsoft.com/office/drawing/2014/main" id="{245E7C8D-18CE-D16D-EBFC-B55D24729C2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7664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5" name="Text Placeholder 64">
            <a:extLst>
              <a:ext uri="{FF2B5EF4-FFF2-40B4-BE49-F238E27FC236}">
                <a16:creationId xmlns:a16="http://schemas.microsoft.com/office/drawing/2014/main" id="{430465A8-B110-5F4A-EF48-43014E78D4D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67" name="Text Placeholder 66">
            <a:extLst>
              <a:ext uri="{FF2B5EF4-FFF2-40B4-BE49-F238E27FC236}">
                <a16:creationId xmlns:a16="http://schemas.microsoft.com/office/drawing/2014/main" id="{6711808D-4AD1-4428-129E-131055EC5C8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D6E9CC3-6786-46BB-D73B-768CE7C9405B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32AE132-488B-C489-A635-15025EFDB9E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70FF2009-CFB8-CF28-3413-0B4284833D97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9856982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ree-form: Shape 3">
            <a:extLst>
              <a:ext uri="{FF2B5EF4-FFF2-40B4-BE49-F238E27FC236}">
                <a16:creationId xmlns:a16="http://schemas.microsoft.com/office/drawing/2014/main" id="{88179413-F21E-6F8B-5621-FD6158E128DD}"/>
              </a:ext>
            </a:extLst>
          </p:cNvPr>
          <p:cNvSpPr/>
          <p:nvPr userDrawn="1"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9494BD2-F017-377F-E9DC-49A72415A2B7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360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E325ACC-A39B-5A9C-08D1-4350B6146F6C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7033286" y="693804"/>
            <a:ext cx="1035472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3DAFE03-848B-544C-E0CD-10F5B65621C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515327" y="693803"/>
            <a:ext cx="1035472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761D47B5-1DCF-DEA5-AD5A-A87DBB4A210B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42C733FE-249E-F4B6-97A5-9BDCDC7F587F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14" name="Free-form: Shape 13">
            <a:extLst>
              <a:ext uri="{FF2B5EF4-FFF2-40B4-BE49-F238E27FC236}">
                <a16:creationId xmlns:a16="http://schemas.microsoft.com/office/drawing/2014/main" id="{92D11F13-254D-EE69-56CC-3A9083BCD90B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23DDCEF-71FC-3732-8A04-4455123CB7A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97664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5BB121C-7A8C-12E6-80A7-C9F5E0082968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441" dirty="0">
                <a:noFill/>
              </a:defRPr>
            </a:lvl1pPr>
            <a:lvl2pPr>
              <a:defRPr lang="en-US" sz="441" dirty="0">
                <a:noFill/>
              </a:defRPr>
            </a:lvl2pPr>
            <a:lvl3pPr>
              <a:defRPr lang="en-US" sz="441" dirty="0">
                <a:noFill/>
              </a:defRPr>
            </a:lvl3pPr>
            <a:lvl4pPr>
              <a:defRPr lang="en-US" sz="441" dirty="0">
                <a:noFill/>
              </a:defRPr>
            </a:lvl4pPr>
            <a:lvl5pPr>
              <a:defRPr lang="en-US" sz="441" dirty="0">
                <a:noFill/>
              </a:defRPr>
            </a:lvl5pPr>
            <a:lvl6pPr>
              <a:defRPr lang="en-US" sz="441" dirty="0">
                <a:noFill/>
              </a:defRPr>
            </a:lvl6pPr>
            <a:lvl7pPr>
              <a:defRPr lang="en-US" sz="441" dirty="0">
                <a:noFill/>
              </a:defRPr>
            </a:lvl7pPr>
            <a:lvl8pPr>
              <a:defRPr lang="en-US" sz="441" dirty="0">
                <a:noFill/>
              </a:defRPr>
            </a:lvl8pPr>
            <a:lvl9pPr>
              <a:defRPr lang="en-AU" sz="441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16DD6E17-2BA5-2E07-079F-711BDFC6475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" name="Subtitle 2">
            <a:extLst>
              <a:ext uri="{FF2B5EF4-FFF2-40B4-BE49-F238E27FC236}">
                <a16:creationId xmlns:a16="http://schemas.microsoft.com/office/drawing/2014/main" id="{AD48F861-7E55-A416-6C10-E8F443B1817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3" name="Title 10">
            <a:extLst>
              <a:ext uri="{FF2B5EF4-FFF2-40B4-BE49-F238E27FC236}">
                <a16:creationId xmlns:a16="http://schemas.microsoft.com/office/drawing/2014/main" id="{11278E5F-8266-8988-9BC9-757920918B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53C4647-9866-8687-AC61-706DD630E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4CA80ADE-153B-89EB-C45C-110A3EAD8DEA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6621448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35">
            <a:extLst>
              <a:ext uri="{FF2B5EF4-FFF2-40B4-BE49-F238E27FC236}">
                <a16:creationId xmlns:a16="http://schemas.microsoft.com/office/drawing/2014/main" id="{A0C810F8-DFAB-09FF-9C62-9FCB8ECA197D}"/>
              </a:ext>
            </a:extLst>
          </p:cNvPr>
          <p:cNvSpPr>
            <a:spLocks noGrp="1" noChangeAspect="1"/>
          </p:cNvSpPr>
          <p:nvPr>
            <p:ph type="pic" sz="quarter" idx="20" hasCustomPrompt="1"/>
          </p:nvPr>
        </p:nvSpPr>
        <p:spPr>
          <a:xfrm>
            <a:off x="1" y="693805"/>
            <a:ext cx="10688401" cy="6164075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84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6230822B-F962-DB00-EE97-E4256C54DA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033286" y="693804"/>
            <a:ext cx="1035472" cy="1032316"/>
          </a:xfrm>
          <a:custGeom>
            <a:avLst/>
            <a:gdLst>
              <a:gd name="connsiteX0" fmla="*/ 442786 w 885571"/>
              <a:gd name="connsiteY0" fmla="*/ 936364 h 936498"/>
              <a:gd name="connsiteX1" fmla="*/ 442849 w 885571"/>
              <a:gd name="connsiteY1" fmla="*/ 936498 h 936498"/>
              <a:gd name="connsiteX2" fmla="*/ 442722 w 885571"/>
              <a:gd name="connsiteY2" fmla="*/ 936498 h 936498"/>
              <a:gd name="connsiteX3" fmla="*/ 0 w 885571"/>
              <a:gd name="connsiteY3" fmla="*/ 0 h 936498"/>
              <a:gd name="connsiteX4" fmla="*/ 885571 w 885571"/>
              <a:gd name="connsiteY4" fmla="*/ 0 h 936498"/>
              <a:gd name="connsiteX5" fmla="*/ 442786 w 885571"/>
              <a:gd name="connsiteY5" fmla="*/ 936364 h 936498"/>
              <a:gd name="connsiteX6" fmla="*/ 437876 w 885571"/>
              <a:gd name="connsiteY6" fmla="*/ 925981 h 936498"/>
              <a:gd name="connsiteX7" fmla="*/ 0 w 885571"/>
              <a:gd name="connsiteY7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885571" h="936498">
                <a:moveTo>
                  <a:pt x="442786" y="936364"/>
                </a:moveTo>
                <a:lnTo>
                  <a:pt x="442849" y="936498"/>
                </a:lnTo>
                <a:lnTo>
                  <a:pt x="442722" y="936498"/>
                </a:lnTo>
                <a:close/>
                <a:moveTo>
                  <a:pt x="0" y="0"/>
                </a:moveTo>
                <a:lnTo>
                  <a:pt x="885571" y="0"/>
                </a:lnTo>
                <a:lnTo>
                  <a:pt x="442786" y="936364"/>
                </a:lnTo>
                <a:lnTo>
                  <a:pt x="437876" y="925981"/>
                </a:lnTo>
                <a:cubicBezTo>
                  <a:pt x="389223" y="823094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682D5331-408D-EF45-7B7C-C5B7E1DA757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515327" y="693803"/>
            <a:ext cx="1035472" cy="1032316"/>
          </a:xfrm>
          <a:custGeom>
            <a:avLst/>
            <a:gdLst>
              <a:gd name="connsiteX0" fmla="*/ 442786 w 885571"/>
              <a:gd name="connsiteY0" fmla="*/ 134 h 936498"/>
              <a:gd name="connsiteX1" fmla="*/ 447696 w 885571"/>
              <a:gd name="connsiteY1" fmla="*/ 10517 h 936498"/>
              <a:gd name="connsiteX2" fmla="*/ 885571 w 885571"/>
              <a:gd name="connsiteY2" fmla="*/ 936498 h 936498"/>
              <a:gd name="connsiteX3" fmla="*/ 0 w 885571"/>
              <a:gd name="connsiteY3" fmla="*/ 936498 h 936498"/>
              <a:gd name="connsiteX4" fmla="*/ 442722 w 885571"/>
              <a:gd name="connsiteY4" fmla="*/ 0 h 936498"/>
              <a:gd name="connsiteX5" fmla="*/ 442849 w 885571"/>
              <a:gd name="connsiteY5" fmla="*/ 0 h 936498"/>
              <a:gd name="connsiteX6" fmla="*/ 442786 w 885571"/>
              <a:gd name="connsiteY6" fmla="*/ 134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85571" h="936498"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A3A3D436-8180-38F3-59D6-0BA3DD774A4D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26" name="Free-form: Shape 25">
            <a:extLst>
              <a:ext uri="{FF2B5EF4-FFF2-40B4-BE49-F238E27FC236}">
                <a16:creationId xmlns:a16="http://schemas.microsoft.com/office/drawing/2014/main" id="{41BC3F22-BF2C-9936-4961-258371143F9B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27" name="Free-form: Shape 26">
            <a:extLst>
              <a:ext uri="{FF2B5EF4-FFF2-40B4-BE49-F238E27FC236}">
                <a16:creationId xmlns:a16="http://schemas.microsoft.com/office/drawing/2014/main" id="{2315349F-5DCB-7C77-ADF4-93BBD78D466D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28" name="Free-form: Shape 27">
            <a:extLst>
              <a:ext uri="{FF2B5EF4-FFF2-40B4-BE49-F238E27FC236}">
                <a16:creationId xmlns:a16="http://schemas.microsoft.com/office/drawing/2014/main" id="{1407844C-B43F-E7F1-25BB-730A42F8C798}"/>
              </a:ext>
            </a:extLst>
          </p:cNvPr>
          <p:cNvSpPr/>
          <p:nvPr userDrawn="1"/>
        </p:nvSpPr>
        <p:spPr>
          <a:xfrm>
            <a:off x="372287" y="-4064"/>
            <a:ext cx="10319530" cy="698010"/>
          </a:xfrm>
          <a:custGeom>
            <a:avLst/>
            <a:gdLst>
              <a:gd name="connsiteX0" fmla="*/ 0 w 8825611"/>
              <a:gd name="connsiteY0" fmla="*/ 0 h 633222"/>
              <a:gd name="connsiteX1" fmla="*/ 8825611 w 8825611"/>
              <a:gd name="connsiteY1" fmla="*/ 0 h 633222"/>
              <a:gd name="connsiteX2" fmla="*/ 8825611 w 8825611"/>
              <a:gd name="connsiteY2" fmla="*/ 633222 h 633222"/>
              <a:gd name="connsiteX3" fmla="*/ 0 w 8825611"/>
              <a:gd name="connsiteY3" fmla="*/ 633222 h 63322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5611" h="633222">
                <a:moveTo>
                  <a:pt x="0" y="0"/>
                </a:moveTo>
                <a:lnTo>
                  <a:pt x="8825611" y="0"/>
                </a:lnTo>
                <a:lnTo>
                  <a:pt x="8825611" y="633222"/>
                </a:lnTo>
                <a:lnTo>
                  <a:pt x="0" y="633222"/>
                </a:lnTo>
                <a:close/>
              </a:path>
            </a:pathLst>
          </a:custGeom>
          <a:noFill/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B44498DC-53F4-4976-1118-A8506276F41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997664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9">
            <a:extLst>
              <a:ext uri="{FF2B5EF4-FFF2-40B4-BE49-F238E27FC236}">
                <a16:creationId xmlns:a16="http://schemas.microsoft.com/office/drawing/2014/main" id="{578D3637-7058-A75F-A9AF-CA3F50EE0F9E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>
            <a:lvl1pPr>
              <a:defRPr lang="en-US" sz="441" dirty="0">
                <a:noFill/>
              </a:defRPr>
            </a:lvl1pPr>
            <a:lvl2pPr>
              <a:defRPr lang="en-US" sz="441" dirty="0">
                <a:noFill/>
              </a:defRPr>
            </a:lvl2pPr>
            <a:lvl3pPr>
              <a:defRPr lang="en-US" sz="441" dirty="0">
                <a:noFill/>
              </a:defRPr>
            </a:lvl3pPr>
            <a:lvl4pPr>
              <a:defRPr lang="en-US" sz="441" dirty="0">
                <a:noFill/>
              </a:defRPr>
            </a:lvl4pPr>
            <a:lvl5pPr>
              <a:defRPr lang="en-US" sz="441" dirty="0">
                <a:noFill/>
              </a:defRPr>
            </a:lvl5pPr>
            <a:lvl6pPr>
              <a:defRPr lang="en-US" sz="441" dirty="0">
                <a:noFill/>
              </a:defRPr>
            </a:lvl6pPr>
            <a:lvl7pPr>
              <a:defRPr lang="en-US" sz="441" dirty="0">
                <a:noFill/>
              </a:defRPr>
            </a:lvl7pPr>
            <a:lvl8pPr>
              <a:defRPr lang="en-US" sz="441" dirty="0">
                <a:noFill/>
              </a:defRPr>
            </a:lvl8pPr>
            <a:lvl9pPr>
              <a:defRPr lang="en-AU" sz="441" dirty="0">
                <a:noFill/>
              </a:defRPr>
            </a:lvl9pPr>
          </a:lstStyle>
          <a:p>
            <a:pPr lvl="0">
              <a:spcBef>
                <a:spcPts val="0"/>
              </a:spcBef>
            </a:pPr>
            <a:r>
              <a:rPr lang="en-US"/>
              <a:t>Click to edit Master text styles</a:t>
            </a:r>
          </a:p>
          <a:p>
            <a:pPr lvl="1">
              <a:spcBef>
                <a:spcPts val="0"/>
              </a:spcBef>
            </a:pPr>
            <a:r>
              <a:rPr lang="en-US"/>
              <a:t>Second level</a:t>
            </a:r>
          </a:p>
          <a:p>
            <a:pPr lvl="2">
              <a:spcBef>
                <a:spcPts val="0"/>
              </a:spcBef>
            </a:pPr>
            <a:r>
              <a:rPr lang="en-US"/>
              <a:t>Third level</a:t>
            </a:r>
          </a:p>
          <a:p>
            <a:pPr lvl="3">
              <a:spcBef>
                <a:spcPts val="0"/>
              </a:spcBef>
            </a:pPr>
            <a:r>
              <a:rPr lang="en-US"/>
              <a:t>Fourth level</a:t>
            </a:r>
          </a:p>
          <a:p>
            <a:pPr lvl="4">
              <a:spcBef>
                <a:spcPts val="0"/>
              </a:spcBef>
            </a:pPr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30">
            <a:extLst>
              <a:ext uri="{FF2B5EF4-FFF2-40B4-BE49-F238E27FC236}">
                <a16:creationId xmlns:a16="http://schemas.microsoft.com/office/drawing/2014/main" id="{2837DE7F-B0A0-98EB-E050-22BBFBCCB4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0" name="Text Placeholder 39">
            <a:extLst>
              <a:ext uri="{FF2B5EF4-FFF2-40B4-BE49-F238E27FC236}">
                <a16:creationId xmlns:a16="http://schemas.microsoft.com/office/drawing/2014/main" id="{24349991-AE8C-CA92-BF55-D82BA54DBCB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1" y="693804"/>
            <a:ext cx="7033137" cy="6163375"/>
          </a:xfrm>
          <a:custGeom>
            <a:avLst/>
            <a:gdLst>
              <a:gd name="connsiteX0" fmla="*/ 0 w 6014977"/>
              <a:gd name="connsiteY0" fmla="*/ 0 h 5591302"/>
              <a:gd name="connsiteX1" fmla="*/ 6014977 w 6014977"/>
              <a:gd name="connsiteY1" fmla="*/ 0 h 5591302"/>
              <a:gd name="connsiteX2" fmla="*/ 3371137 w 6014977"/>
              <a:gd name="connsiteY2" fmla="*/ 5591302 h 5591302"/>
              <a:gd name="connsiteX3" fmla="*/ 0 w 6014977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014977" h="5591302">
                <a:moveTo>
                  <a:pt x="0" y="0"/>
                </a:moveTo>
                <a:lnTo>
                  <a:pt x="6014977" y="0"/>
                </a:lnTo>
                <a:lnTo>
                  <a:pt x="3371137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9" name="Title 10">
            <a:extLst>
              <a:ext uri="{FF2B5EF4-FFF2-40B4-BE49-F238E27FC236}">
                <a16:creationId xmlns:a16="http://schemas.microsoft.com/office/drawing/2014/main" id="{A6F139C8-B6EF-5B84-13D9-F8ADEBD2FC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A3082BF0-ED0B-5BEB-3CD5-ED3CAB19DA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AAEE8CEF-2A9A-A284-2ECE-73C5016C2E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A814517-E33B-AFFF-52E3-DE0C61785E9A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39969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1984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tx2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6515327" y="693803"/>
            <a:ext cx="1553431" cy="1032317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5997663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DD344425-4162-E229-2E19-2924591FFEC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7E5F0D0-1852-1373-EF05-D7B4A6041F22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20138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Free-form: Shape 30">
            <a:extLst>
              <a:ext uri="{FF2B5EF4-FFF2-40B4-BE49-F238E27FC236}">
                <a16:creationId xmlns:a16="http://schemas.microsoft.com/office/drawing/2014/main" id="{775179C6-69B1-0B86-138C-7F7820A4F219}"/>
              </a:ext>
            </a:extLst>
          </p:cNvPr>
          <p:cNvSpPr/>
          <p:nvPr userDrawn="1"/>
        </p:nvSpPr>
        <p:spPr>
          <a:xfrm>
            <a:off x="0" y="693805"/>
            <a:ext cx="10688550" cy="6163375"/>
          </a:xfrm>
          <a:custGeom>
            <a:avLst/>
            <a:gdLst>
              <a:gd name="connsiteX0" fmla="*/ 0 w 8820023"/>
              <a:gd name="connsiteY0" fmla="*/ 0 h 5591302"/>
              <a:gd name="connsiteX1" fmla="*/ 8820023 w 8820023"/>
              <a:gd name="connsiteY1" fmla="*/ 0 h 5591302"/>
              <a:gd name="connsiteX2" fmla="*/ 8820023 w 8820023"/>
              <a:gd name="connsiteY2" fmla="*/ 5591302 h 5591302"/>
              <a:gd name="connsiteX3" fmla="*/ 0 w 8820023"/>
              <a:gd name="connsiteY3" fmla="*/ 5591302 h 55913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5591302">
                <a:moveTo>
                  <a:pt x="0" y="0"/>
                </a:moveTo>
                <a:lnTo>
                  <a:pt x="8820023" y="0"/>
                </a:lnTo>
                <a:lnTo>
                  <a:pt x="8820023" y="5591302"/>
                </a:lnTo>
                <a:lnTo>
                  <a:pt x="0" y="5591302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44" name="Free-form: Shape 43">
            <a:extLst>
              <a:ext uri="{FF2B5EF4-FFF2-40B4-BE49-F238E27FC236}">
                <a16:creationId xmlns:a16="http://schemas.microsoft.com/office/drawing/2014/main" id="{DE084157-4075-0FD5-6E63-97A51B858EB1}"/>
              </a:ext>
            </a:extLst>
          </p:cNvPr>
          <p:cNvSpPr/>
          <p:nvPr userDrawn="1"/>
        </p:nvSpPr>
        <p:spPr>
          <a:xfrm>
            <a:off x="3941422" y="693805"/>
            <a:ext cx="6746979" cy="6164075"/>
          </a:xfrm>
          <a:custGeom>
            <a:avLst/>
            <a:gdLst>
              <a:gd name="connsiteX0" fmla="*/ 2644140 w 5770245"/>
              <a:gd name="connsiteY0" fmla="*/ 0 h 5591937"/>
              <a:gd name="connsiteX1" fmla="*/ 5770245 w 5770245"/>
              <a:gd name="connsiteY1" fmla="*/ 0 h 5591937"/>
              <a:gd name="connsiteX2" fmla="*/ 5770245 w 5770245"/>
              <a:gd name="connsiteY2" fmla="*/ 5591937 h 5591937"/>
              <a:gd name="connsiteX3" fmla="*/ 0 w 5770245"/>
              <a:gd name="connsiteY3" fmla="*/ 5591937 h 55919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770245" h="5591937">
                <a:moveTo>
                  <a:pt x="2644140" y="0"/>
                </a:moveTo>
                <a:lnTo>
                  <a:pt x="5770245" y="0"/>
                </a:lnTo>
                <a:lnTo>
                  <a:pt x="5770245" y="5591937"/>
                </a:lnTo>
                <a:lnTo>
                  <a:pt x="0" y="5591937"/>
                </a:lnTo>
                <a:close/>
              </a:path>
            </a:pathLst>
          </a:cu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AU" sz="1984"/>
          </a:p>
        </p:txBody>
      </p:sp>
      <p:sp>
        <p:nvSpPr>
          <p:cNvPr id="22" name="Footer Placeholder 4">
            <a:extLst>
              <a:ext uri="{FF2B5EF4-FFF2-40B4-BE49-F238E27FC236}">
                <a16:creationId xmlns:a16="http://schemas.microsoft.com/office/drawing/2014/main" id="{E478B37A-93E5-3050-AED1-1AE614E5E9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68002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35" name="Free-form: Shape 34">
            <a:extLst>
              <a:ext uri="{FF2B5EF4-FFF2-40B4-BE49-F238E27FC236}">
                <a16:creationId xmlns:a16="http://schemas.microsoft.com/office/drawing/2014/main" id="{E716590E-9291-B2F9-3AA6-85CA4C91DBB9}"/>
              </a:ext>
            </a:extLst>
          </p:cNvPr>
          <p:cNvSpPr/>
          <p:nvPr userDrawn="1"/>
        </p:nvSpPr>
        <p:spPr>
          <a:xfrm>
            <a:off x="7547384" y="6857740"/>
            <a:ext cx="1545412" cy="697870"/>
          </a:xfrm>
          <a:custGeom>
            <a:avLst/>
            <a:gdLst>
              <a:gd name="connsiteX0" fmla="*/ 1321689 w 1321689"/>
              <a:gd name="connsiteY0" fmla="*/ 0 h 633095"/>
              <a:gd name="connsiteX1" fmla="*/ 300863 w 1321689"/>
              <a:gd name="connsiteY1" fmla="*/ 0 h 633095"/>
              <a:gd name="connsiteX2" fmla="*/ 0 w 1321689"/>
              <a:gd name="connsiteY2" fmla="*/ 633095 h 633095"/>
              <a:gd name="connsiteX3" fmla="*/ 1020953 w 1321689"/>
              <a:gd name="connsiteY3" fmla="*/ 633095 h 633095"/>
              <a:gd name="connsiteX4" fmla="*/ 1321562 w 1321689"/>
              <a:gd name="connsiteY4" fmla="*/ 0 h 6330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1689" h="633095">
                <a:moveTo>
                  <a:pt x="1321689" y="0"/>
                </a:moveTo>
                <a:lnTo>
                  <a:pt x="300863" y="0"/>
                </a:lnTo>
                <a:lnTo>
                  <a:pt x="0" y="633095"/>
                </a:lnTo>
                <a:lnTo>
                  <a:pt x="1020953" y="633095"/>
                </a:lnTo>
                <a:lnTo>
                  <a:pt x="1321562" y="0"/>
                </a:lnTo>
                <a:close/>
              </a:path>
            </a:pathLst>
          </a:custGeom>
          <a:solidFill>
            <a:schemeClr val="accent6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/>
          </a:p>
        </p:txBody>
      </p:sp>
      <p:sp>
        <p:nvSpPr>
          <p:cNvPr id="36" name="Free-form: Shape 35">
            <a:extLst>
              <a:ext uri="{FF2B5EF4-FFF2-40B4-BE49-F238E27FC236}">
                <a16:creationId xmlns:a16="http://schemas.microsoft.com/office/drawing/2014/main" id="{4D003B98-C3EA-C7FE-AD96-45DA60D8E705}"/>
              </a:ext>
            </a:extLst>
          </p:cNvPr>
          <p:cNvSpPr/>
          <p:nvPr userDrawn="1"/>
        </p:nvSpPr>
        <p:spPr>
          <a:xfrm>
            <a:off x="7033137" y="-4064"/>
            <a:ext cx="1384738" cy="697869"/>
          </a:xfrm>
          <a:custGeom>
            <a:avLst/>
            <a:gdLst>
              <a:gd name="connsiteX0" fmla="*/ 299339 w 1184275"/>
              <a:gd name="connsiteY0" fmla="*/ 0 h 633094"/>
              <a:gd name="connsiteX1" fmla="*/ 0 w 1184275"/>
              <a:gd name="connsiteY1" fmla="*/ 633095 h 633094"/>
              <a:gd name="connsiteX2" fmla="*/ 885572 w 1184275"/>
              <a:gd name="connsiteY2" fmla="*/ 633095 h 633094"/>
              <a:gd name="connsiteX3" fmla="*/ 1184275 w 1184275"/>
              <a:gd name="connsiteY3" fmla="*/ 0 h 633094"/>
              <a:gd name="connsiteX4" fmla="*/ 299339 w 1184275"/>
              <a:gd name="connsiteY4" fmla="*/ 0 h 6330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84275" h="633094">
                <a:moveTo>
                  <a:pt x="299339" y="0"/>
                </a:moveTo>
                <a:lnTo>
                  <a:pt x="0" y="633095"/>
                </a:lnTo>
                <a:lnTo>
                  <a:pt x="885572" y="633095"/>
                </a:lnTo>
                <a:cubicBezTo>
                  <a:pt x="885572" y="633095"/>
                  <a:pt x="1184275" y="0"/>
                  <a:pt x="1184275" y="0"/>
                </a:cubicBezTo>
                <a:lnTo>
                  <a:pt x="299339" y="0"/>
                </a:lnTo>
                <a:close/>
              </a:path>
            </a:pathLst>
          </a:custGeom>
          <a:solidFill>
            <a:srgbClr val="CEDC00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37" name="Free-form: Shape 36">
            <a:extLst>
              <a:ext uri="{FF2B5EF4-FFF2-40B4-BE49-F238E27FC236}">
                <a16:creationId xmlns:a16="http://schemas.microsoft.com/office/drawing/2014/main" id="{D57C1E03-A62F-F5AC-8A66-6F45EDC22105}"/>
              </a:ext>
            </a:extLst>
          </p:cNvPr>
          <p:cNvSpPr/>
          <p:nvPr userDrawn="1"/>
        </p:nvSpPr>
        <p:spPr>
          <a:xfrm>
            <a:off x="7550800" y="693805"/>
            <a:ext cx="517810" cy="1032315"/>
          </a:xfrm>
          <a:custGeom>
            <a:avLst/>
            <a:gdLst>
              <a:gd name="connsiteX0" fmla="*/ 442849 w 442849"/>
              <a:gd name="connsiteY0" fmla="*/ 0 h 936497"/>
              <a:gd name="connsiteX1" fmla="*/ 0 w 442849"/>
              <a:gd name="connsiteY1" fmla="*/ 936498 h 9364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</a:cxnLst>
            <a:rect l="l" t="t" r="r" b="b"/>
            <a:pathLst>
              <a:path w="442849" h="936497">
                <a:moveTo>
                  <a:pt x="442849" y="0"/>
                </a:moveTo>
                <a:lnTo>
                  <a:pt x="0" y="936498"/>
                </a:lnTo>
              </a:path>
            </a:pathLst>
          </a:custGeom>
          <a:solidFill>
            <a:srgbClr val="FFFFFF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1" name="Subtitle 2">
            <a:extLst>
              <a:ext uri="{FF2B5EF4-FFF2-40B4-BE49-F238E27FC236}">
                <a16:creationId xmlns:a16="http://schemas.microsoft.com/office/drawing/2014/main" id="{CAB36581-B79B-989F-D79E-A149C37E497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4738" y="2675708"/>
            <a:ext cx="4419844" cy="1587333"/>
          </a:xfrm>
        </p:spPr>
        <p:txBody>
          <a:bodyPr/>
          <a:lstStyle>
            <a:lvl1pPr marL="0" indent="0" algn="l">
              <a:buNone/>
              <a:defRPr sz="2535" b="0">
                <a:solidFill>
                  <a:schemeClr val="bg1"/>
                </a:solidFill>
              </a:defRPr>
            </a:lvl1pPr>
            <a:lvl2pPr marL="0" indent="0" algn="l">
              <a:buNone/>
              <a:defRPr sz="2535" b="0">
                <a:solidFill>
                  <a:schemeClr val="accent3"/>
                </a:solidFill>
              </a:defRPr>
            </a:lvl2pPr>
            <a:lvl3pPr marL="0" indent="0" algn="l">
              <a:buNone/>
              <a:defRPr sz="2535" b="0">
                <a:solidFill>
                  <a:schemeClr val="bg1"/>
                </a:solidFill>
              </a:defRPr>
            </a:lvl3pPr>
            <a:lvl4pPr marL="0" indent="0" algn="l">
              <a:buNone/>
              <a:defRPr sz="2535" b="0">
                <a:solidFill>
                  <a:schemeClr val="bg1"/>
                </a:solidFill>
              </a:defRPr>
            </a:lvl4pPr>
            <a:lvl5pPr marL="0" indent="0" algn="l">
              <a:buNone/>
              <a:defRPr sz="2535" b="0">
                <a:solidFill>
                  <a:schemeClr val="bg1"/>
                </a:solidFill>
              </a:defRPr>
            </a:lvl5pPr>
            <a:lvl6pPr marL="0" indent="0" algn="l">
              <a:buNone/>
              <a:defRPr sz="2535" b="0">
                <a:solidFill>
                  <a:schemeClr val="bg1"/>
                </a:solidFill>
              </a:defRPr>
            </a:lvl6pPr>
            <a:lvl7pPr marL="0" indent="0" algn="l">
              <a:buNone/>
              <a:defRPr sz="2535" b="0">
                <a:solidFill>
                  <a:schemeClr val="bg1"/>
                </a:solidFill>
              </a:defRPr>
            </a:lvl7pPr>
            <a:lvl8pPr marL="0" indent="0" algn="l">
              <a:buNone/>
              <a:defRPr sz="2535" b="0">
                <a:solidFill>
                  <a:schemeClr val="bg1"/>
                </a:solidFill>
              </a:defRPr>
            </a:lvl8pPr>
            <a:lvl9pPr marL="0" indent="0" algn="l">
              <a:buNone/>
              <a:defRPr sz="2535" b="0">
                <a:solidFill>
                  <a:schemeClr val="bg1"/>
                </a:solidFill>
              </a:defRPr>
            </a:lvl9pPr>
          </a:lstStyle>
          <a:p>
            <a:r>
              <a:rPr lang="en-US" dirty="0"/>
              <a:t>Click to add subheading</a:t>
            </a:r>
            <a:endParaRPr lang="en-GB" dirty="0"/>
          </a:p>
        </p:txBody>
      </p:sp>
      <p:sp>
        <p:nvSpPr>
          <p:cNvPr id="42" name="Title 10">
            <a:extLst>
              <a:ext uri="{FF2B5EF4-FFF2-40B4-BE49-F238E27FC236}">
                <a16:creationId xmlns:a16="http://schemas.microsoft.com/office/drawing/2014/main" id="{2A95F71B-5627-FFA8-5C56-3B3CD5D057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68001" y="1391815"/>
            <a:ext cx="4419844" cy="1190500"/>
          </a:xfrm>
        </p:spPr>
        <p:txBody>
          <a:bodyPr anchor="b" anchorCtr="0"/>
          <a:lstStyle>
            <a:lvl1pPr>
              <a:defRPr sz="3417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ction Header</a:t>
            </a:r>
            <a:endParaRPr lang="en-GB" dirty="0"/>
          </a:p>
        </p:txBody>
      </p:sp>
      <p:sp>
        <p:nvSpPr>
          <p:cNvPr id="57" name="Free-form: Shape 56">
            <a:extLst>
              <a:ext uri="{FF2B5EF4-FFF2-40B4-BE49-F238E27FC236}">
                <a16:creationId xmlns:a16="http://schemas.microsoft.com/office/drawing/2014/main" id="{01DA6775-E0B6-7D84-E7B3-F5EA83C07776}"/>
              </a:ext>
            </a:extLst>
          </p:cNvPr>
          <p:cNvSpPr/>
          <p:nvPr userDrawn="1"/>
        </p:nvSpPr>
        <p:spPr>
          <a:xfrm>
            <a:off x="6515327" y="693803"/>
            <a:ext cx="1553431" cy="1032317"/>
          </a:xfrm>
          <a:custGeom>
            <a:avLst/>
            <a:gdLst>
              <a:gd name="connsiteX0" fmla="*/ 885762 w 1328547"/>
              <a:gd name="connsiteY0" fmla="*/ 936365 h 936499"/>
              <a:gd name="connsiteX1" fmla="*/ 885825 w 1328547"/>
              <a:gd name="connsiteY1" fmla="*/ 936499 h 936499"/>
              <a:gd name="connsiteX2" fmla="*/ 885698 w 1328547"/>
              <a:gd name="connsiteY2" fmla="*/ 936499 h 936499"/>
              <a:gd name="connsiteX3" fmla="*/ 442786 w 1328547"/>
              <a:gd name="connsiteY3" fmla="*/ 134 h 936499"/>
              <a:gd name="connsiteX4" fmla="*/ 447696 w 1328547"/>
              <a:gd name="connsiteY4" fmla="*/ 10517 h 936499"/>
              <a:gd name="connsiteX5" fmla="*/ 885571 w 1328547"/>
              <a:gd name="connsiteY5" fmla="*/ 936498 h 936499"/>
              <a:gd name="connsiteX6" fmla="*/ 0 w 1328547"/>
              <a:gd name="connsiteY6" fmla="*/ 936498 h 936499"/>
              <a:gd name="connsiteX7" fmla="*/ 442976 w 1328547"/>
              <a:gd name="connsiteY7" fmla="*/ 1 h 936499"/>
              <a:gd name="connsiteX8" fmla="*/ 1328547 w 1328547"/>
              <a:gd name="connsiteY8" fmla="*/ 1 h 936499"/>
              <a:gd name="connsiteX9" fmla="*/ 885762 w 1328547"/>
              <a:gd name="connsiteY9" fmla="*/ 936365 h 936499"/>
              <a:gd name="connsiteX10" fmla="*/ 880852 w 1328547"/>
              <a:gd name="connsiteY10" fmla="*/ 925982 h 936499"/>
              <a:gd name="connsiteX11" fmla="*/ 442976 w 1328547"/>
              <a:gd name="connsiteY11" fmla="*/ 1 h 936499"/>
              <a:gd name="connsiteX12" fmla="*/ 442722 w 1328547"/>
              <a:gd name="connsiteY12" fmla="*/ 0 h 936499"/>
              <a:gd name="connsiteX13" fmla="*/ 442849 w 1328547"/>
              <a:gd name="connsiteY13" fmla="*/ 0 h 936499"/>
              <a:gd name="connsiteX14" fmla="*/ 442786 w 1328547"/>
              <a:gd name="connsiteY14" fmla="*/ 134 h 9364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1328547" h="936499">
                <a:moveTo>
                  <a:pt x="885762" y="936365"/>
                </a:moveTo>
                <a:lnTo>
                  <a:pt x="885825" y="936499"/>
                </a:lnTo>
                <a:lnTo>
                  <a:pt x="885698" y="936499"/>
                </a:lnTo>
                <a:close/>
                <a:moveTo>
                  <a:pt x="442786" y="134"/>
                </a:moveTo>
                <a:lnTo>
                  <a:pt x="447696" y="10517"/>
                </a:lnTo>
                <a:cubicBezTo>
                  <a:pt x="496349" y="113404"/>
                  <a:pt x="885571" y="936498"/>
                  <a:pt x="885571" y="936498"/>
                </a:cubicBezTo>
                <a:lnTo>
                  <a:pt x="0" y="936498"/>
                </a:lnTo>
                <a:close/>
                <a:moveTo>
                  <a:pt x="442976" y="1"/>
                </a:moveTo>
                <a:lnTo>
                  <a:pt x="1328547" y="1"/>
                </a:lnTo>
                <a:lnTo>
                  <a:pt x="885762" y="936365"/>
                </a:lnTo>
                <a:lnTo>
                  <a:pt x="880852" y="925982"/>
                </a:lnTo>
                <a:cubicBezTo>
                  <a:pt x="832199" y="823095"/>
                  <a:pt x="442976" y="1"/>
                  <a:pt x="442976" y="1"/>
                </a:cubicBezTo>
                <a:close/>
                <a:moveTo>
                  <a:pt x="442722" y="0"/>
                </a:moveTo>
                <a:lnTo>
                  <a:pt x="442849" y="0"/>
                </a:lnTo>
                <a:lnTo>
                  <a:pt x="442786" y="134"/>
                </a:lnTo>
                <a:close/>
              </a:path>
            </a:pathLst>
          </a:custGeom>
          <a:solidFill>
            <a:schemeClr val="accent1">
              <a:alpha val="66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58" name="Free-form: Shape 57">
            <a:extLst>
              <a:ext uri="{FF2B5EF4-FFF2-40B4-BE49-F238E27FC236}">
                <a16:creationId xmlns:a16="http://schemas.microsoft.com/office/drawing/2014/main" id="{358FAFA3-856C-CF17-8001-FFF4AC2A7BB5}"/>
              </a:ext>
            </a:extLst>
          </p:cNvPr>
          <p:cNvSpPr/>
          <p:nvPr userDrawn="1"/>
        </p:nvSpPr>
        <p:spPr>
          <a:xfrm>
            <a:off x="5997663" y="693803"/>
            <a:ext cx="1553283" cy="1032316"/>
          </a:xfrm>
          <a:custGeom>
            <a:avLst/>
            <a:gdLst>
              <a:gd name="connsiteX0" fmla="*/ 0 w 1328420"/>
              <a:gd name="connsiteY0" fmla="*/ 0 h 936498"/>
              <a:gd name="connsiteX1" fmla="*/ 885571 w 1328420"/>
              <a:gd name="connsiteY1" fmla="*/ 0 h 936498"/>
              <a:gd name="connsiteX2" fmla="*/ 1328420 w 1328420"/>
              <a:gd name="connsiteY2" fmla="*/ 936498 h 936498"/>
              <a:gd name="connsiteX3" fmla="*/ 442849 w 1328420"/>
              <a:gd name="connsiteY3" fmla="*/ 936498 h 936498"/>
              <a:gd name="connsiteX4" fmla="*/ 0 w 1328420"/>
              <a:gd name="connsiteY4" fmla="*/ 0 h 936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328420" h="936498">
                <a:moveTo>
                  <a:pt x="0" y="0"/>
                </a:moveTo>
                <a:lnTo>
                  <a:pt x="885571" y="0"/>
                </a:lnTo>
                <a:lnTo>
                  <a:pt x="1328420" y="936498"/>
                </a:lnTo>
                <a:lnTo>
                  <a:pt x="442849" y="936498"/>
                </a:lnTo>
                <a:cubicBezTo>
                  <a:pt x="442849" y="936498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1" name="Free-form: Shape 60">
            <a:extLst>
              <a:ext uri="{FF2B5EF4-FFF2-40B4-BE49-F238E27FC236}">
                <a16:creationId xmlns:a16="http://schemas.microsoft.com/office/drawing/2014/main" id="{DF617F1A-5E2A-826F-24C7-FBF92E02D629}"/>
              </a:ext>
            </a:extLst>
          </p:cNvPr>
          <p:cNvSpPr/>
          <p:nvPr userDrawn="1"/>
        </p:nvSpPr>
        <p:spPr>
          <a:xfrm>
            <a:off x="7897835" y="5666672"/>
            <a:ext cx="1794443" cy="1193869"/>
          </a:xfrm>
          <a:custGeom>
            <a:avLst/>
            <a:gdLst>
              <a:gd name="connsiteX0" fmla="*/ 513969 w 1534668"/>
              <a:gd name="connsiteY0" fmla="*/ 0 h 1083056"/>
              <a:gd name="connsiteX1" fmla="*/ 1534668 w 1534668"/>
              <a:gd name="connsiteY1" fmla="*/ 0 h 1083056"/>
              <a:gd name="connsiteX2" fmla="*/ 1021969 w 1534668"/>
              <a:gd name="connsiteY2" fmla="*/ 1080516 h 1083056"/>
              <a:gd name="connsiteX3" fmla="*/ 0 w 1534668"/>
              <a:gd name="connsiteY3" fmla="*/ 1083056 h 10830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34668" h="1083056">
                <a:moveTo>
                  <a:pt x="513969" y="0"/>
                </a:moveTo>
                <a:lnTo>
                  <a:pt x="1534668" y="0"/>
                </a:lnTo>
                <a:lnTo>
                  <a:pt x="1021969" y="1080516"/>
                </a:lnTo>
                <a:lnTo>
                  <a:pt x="0" y="1083056"/>
                </a:lnTo>
                <a:close/>
              </a:path>
            </a:pathLst>
          </a:custGeom>
          <a:solidFill>
            <a:schemeClr val="accent6">
              <a:alpha val="50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62" name="Free-form: Shape 61">
            <a:extLst>
              <a:ext uri="{FF2B5EF4-FFF2-40B4-BE49-F238E27FC236}">
                <a16:creationId xmlns:a16="http://schemas.microsoft.com/office/drawing/2014/main" id="{FF92AA7A-2C80-1E59-C936-ABFC69615300}"/>
              </a:ext>
            </a:extLst>
          </p:cNvPr>
          <p:cNvSpPr/>
          <p:nvPr userDrawn="1"/>
        </p:nvSpPr>
        <p:spPr>
          <a:xfrm>
            <a:off x="8498807" y="5666672"/>
            <a:ext cx="1787315" cy="1191209"/>
          </a:xfrm>
          <a:custGeom>
            <a:avLst/>
            <a:gdLst>
              <a:gd name="connsiteX0" fmla="*/ 0 w 1528572"/>
              <a:gd name="connsiteY0" fmla="*/ 0 h 1080643"/>
              <a:gd name="connsiteX1" fmla="*/ 1020572 w 1528572"/>
              <a:gd name="connsiteY1" fmla="*/ 0 h 1080643"/>
              <a:gd name="connsiteX2" fmla="*/ 1528572 w 1528572"/>
              <a:gd name="connsiteY2" fmla="*/ 1080643 h 1080643"/>
              <a:gd name="connsiteX3" fmla="*/ 508000 w 1528572"/>
              <a:gd name="connsiteY3" fmla="*/ 1080643 h 108064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528572" h="1080643">
                <a:moveTo>
                  <a:pt x="0" y="0"/>
                </a:moveTo>
                <a:lnTo>
                  <a:pt x="1020572" y="0"/>
                </a:lnTo>
                <a:cubicBezTo>
                  <a:pt x="1020572" y="0"/>
                  <a:pt x="1528572" y="1080643"/>
                  <a:pt x="1528572" y="1080643"/>
                </a:cubicBezTo>
                <a:lnTo>
                  <a:pt x="508000" y="1080643"/>
                </a:lnTo>
                <a:close/>
              </a:path>
            </a:pathLst>
          </a:custGeom>
          <a:solidFill>
            <a:schemeClr val="bg1">
              <a:alpha val="33000"/>
            </a:schemeClr>
          </a:solidFill>
        </p:spPr>
        <p:txBody>
          <a:bodyPr vert="horz" wrap="square" lIns="0" tIns="0" rIns="0" bIns="0" rtlCol="0">
            <a:noAutofit/>
          </a:bodyPr>
          <a:lstStyle/>
          <a:p>
            <a:pPr lv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en-AU" sz="441" b="1">
              <a:noFill/>
            </a:endParaRP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B3127AF-A3C2-5832-887E-D39B1157476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 dirty="0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FCFDF05C-52EC-6D95-72CD-C8B91309F21D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177911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1DEF600E-A836-4665-A50B-E5BE4AD5429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6" name="Date Placeholder 5">
            <a:extLst>
              <a:ext uri="{FF2B5EF4-FFF2-40B4-BE49-F238E27FC236}">
                <a16:creationId xmlns:a16="http://schemas.microsoft.com/office/drawing/2014/main" id="{EF2443BB-7A97-7B56-A32E-631D8CD62CB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F726E1DD-AD4E-67B7-C4F6-D1DB9008DB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D5844A66-C3CA-7B88-CD33-C6D0CC2B8D3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436702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C29A80C0-65A9-BC7C-D22E-85EE44CC74A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3D4877-A18C-4E62-9946-F942ED83388C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6E9D7BD5-0C96-0A6E-631D-DD3B95D284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2379D0F-B6EB-9705-927B-79B513BACF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9877225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6" name="Free-form: Shape 5">
            <a:extLst>
              <a:ext uri="{FF2B5EF4-FFF2-40B4-BE49-F238E27FC236}">
                <a16:creationId xmlns:a16="http://schemas.microsoft.com/office/drawing/2014/main" id="{61B08C00-0226-56F5-FDD7-5FA0EF3DB3D2}"/>
              </a:ext>
            </a:extLst>
          </p:cNvPr>
          <p:cNvSpPr/>
          <p:nvPr/>
        </p:nvSpPr>
        <p:spPr>
          <a:xfrm>
            <a:off x="1" y="2462353"/>
            <a:ext cx="10699395" cy="4400882"/>
          </a:xfrm>
          <a:custGeom>
            <a:avLst/>
            <a:gdLst>
              <a:gd name="connsiteX0" fmla="*/ 0 w 8820023"/>
              <a:gd name="connsiteY0" fmla="*/ 0 h 3990721"/>
              <a:gd name="connsiteX1" fmla="*/ 8820023 w 8820023"/>
              <a:gd name="connsiteY1" fmla="*/ 0 h 3990721"/>
              <a:gd name="connsiteX2" fmla="*/ 8820023 w 8820023"/>
              <a:gd name="connsiteY2" fmla="*/ 3990721 h 3990721"/>
              <a:gd name="connsiteX3" fmla="*/ 0 w 8820023"/>
              <a:gd name="connsiteY3" fmla="*/ 3990721 h 3990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8820023" h="3990721">
                <a:moveTo>
                  <a:pt x="0" y="0"/>
                </a:moveTo>
                <a:lnTo>
                  <a:pt x="8820023" y="0"/>
                </a:lnTo>
                <a:lnTo>
                  <a:pt x="8820023" y="3990721"/>
                </a:lnTo>
                <a:lnTo>
                  <a:pt x="0" y="3990721"/>
                </a:lnTo>
                <a:close/>
              </a:path>
            </a:pathLst>
          </a:custGeom>
          <a:solidFill>
            <a:srgbClr val="53565A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8" name="Free-form: Shape 7">
            <a:extLst>
              <a:ext uri="{FF2B5EF4-FFF2-40B4-BE49-F238E27FC236}">
                <a16:creationId xmlns:a16="http://schemas.microsoft.com/office/drawing/2014/main" id="{1F1CE9E1-B56A-8EC2-7642-3210B9EB7C8C}"/>
              </a:ext>
            </a:extLst>
          </p:cNvPr>
          <p:cNvSpPr/>
          <p:nvPr/>
        </p:nvSpPr>
        <p:spPr>
          <a:xfrm>
            <a:off x="5418084" y="0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9" name="Free-form: Shape 8">
            <a:extLst>
              <a:ext uri="{FF2B5EF4-FFF2-40B4-BE49-F238E27FC236}">
                <a16:creationId xmlns:a16="http://schemas.microsoft.com/office/drawing/2014/main" id="{DCC001F1-4860-1CC5-8CBC-225BC0A9D236}"/>
              </a:ext>
            </a:extLst>
          </p:cNvPr>
          <p:cNvSpPr/>
          <p:nvPr/>
        </p:nvSpPr>
        <p:spPr>
          <a:xfrm>
            <a:off x="6017272" y="2462353"/>
            <a:ext cx="1201788" cy="1197229"/>
          </a:xfrm>
          <a:custGeom>
            <a:avLst/>
            <a:gdLst>
              <a:gd name="connsiteX0" fmla="*/ 510921 w 1027810"/>
              <a:gd name="connsiteY0" fmla="*/ 1086104 h 1086104"/>
              <a:gd name="connsiteX1" fmla="*/ 1027811 w 1027810"/>
              <a:gd name="connsiteY1" fmla="*/ 0 h 1086104"/>
              <a:gd name="connsiteX2" fmla="*/ 0 w 1027810"/>
              <a:gd name="connsiteY2" fmla="*/ 0 h 1086104"/>
              <a:gd name="connsiteX3" fmla="*/ 510921 w 1027810"/>
              <a:gd name="connsiteY3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7810" h="1086104">
                <a:moveTo>
                  <a:pt x="510921" y="1086104"/>
                </a:moveTo>
                <a:lnTo>
                  <a:pt x="1027811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5B08A13-0E33-5FD8-469F-81F11D14C908}"/>
              </a:ext>
            </a:extLst>
          </p:cNvPr>
          <p:cNvSpPr/>
          <p:nvPr/>
        </p:nvSpPr>
        <p:spPr>
          <a:xfrm>
            <a:off x="4820679" y="2462353"/>
            <a:ext cx="1793997" cy="1197229"/>
          </a:xfrm>
          <a:custGeom>
            <a:avLst/>
            <a:gdLst>
              <a:gd name="connsiteX0" fmla="*/ 1534287 w 1534287"/>
              <a:gd name="connsiteY0" fmla="*/ 1086104 h 1086104"/>
              <a:gd name="connsiteX1" fmla="*/ 1023366 w 1534287"/>
              <a:gd name="connsiteY1" fmla="*/ 0 h 1086104"/>
              <a:gd name="connsiteX2" fmla="*/ 0 w 1534287"/>
              <a:gd name="connsiteY2" fmla="*/ 0 h 1086104"/>
              <a:gd name="connsiteX3" fmla="*/ 510921 w 1534287"/>
              <a:gd name="connsiteY3" fmla="*/ 1086104 h 1086104"/>
              <a:gd name="connsiteX4" fmla="*/ 1534287 w 1534287"/>
              <a:gd name="connsiteY4" fmla="*/ 1086104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1534287" y="1086104"/>
                </a:moveTo>
                <a:lnTo>
                  <a:pt x="1023366" y="0"/>
                </a:lnTo>
                <a:lnTo>
                  <a:pt x="0" y="0"/>
                </a:lnTo>
                <a:cubicBezTo>
                  <a:pt x="0" y="0"/>
                  <a:pt x="510921" y="1086104"/>
                  <a:pt x="510921" y="1086104"/>
                </a:cubicBezTo>
                <a:lnTo>
                  <a:pt x="1534287" y="1086104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6" name="Free-form: Shape 15">
            <a:extLst>
              <a:ext uri="{FF2B5EF4-FFF2-40B4-BE49-F238E27FC236}">
                <a16:creationId xmlns:a16="http://schemas.microsoft.com/office/drawing/2014/main" id="{E9193096-0970-2A9D-D1E9-19E1B557CC8D}"/>
              </a:ext>
            </a:extLst>
          </p:cNvPr>
          <p:cNvSpPr/>
          <p:nvPr/>
        </p:nvSpPr>
        <p:spPr>
          <a:xfrm>
            <a:off x="6483849" y="5338110"/>
            <a:ext cx="2510052" cy="1954176"/>
          </a:xfrm>
          <a:custGeom>
            <a:avLst/>
            <a:gdLst>
              <a:gd name="connsiteX0" fmla="*/ 841629 w 2146681"/>
              <a:gd name="connsiteY0" fmla="*/ 0 h 1772793"/>
              <a:gd name="connsiteX1" fmla="*/ 185674 w 2146681"/>
              <a:gd name="connsiteY1" fmla="*/ 1381887 h 1772793"/>
              <a:gd name="connsiteX2" fmla="*/ 185674 w 2146681"/>
              <a:gd name="connsiteY2" fmla="*/ 1381887 h 1772793"/>
              <a:gd name="connsiteX3" fmla="*/ 0 w 2146681"/>
              <a:gd name="connsiteY3" fmla="*/ 1772793 h 1772793"/>
              <a:gd name="connsiteX4" fmla="*/ 1305814 w 2146681"/>
              <a:gd name="connsiteY4" fmla="*/ 1772793 h 1772793"/>
              <a:gd name="connsiteX5" fmla="*/ 1491107 w 2146681"/>
              <a:gd name="connsiteY5" fmla="*/ 1381887 h 1772793"/>
              <a:gd name="connsiteX6" fmla="*/ 2146681 w 2146681"/>
              <a:gd name="connsiteY6" fmla="*/ 0 h 1772793"/>
              <a:gd name="connsiteX7" fmla="*/ 841629 w 2146681"/>
              <a:gd name="connsiteY7" fmla="*/ 0 h 177279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146681" h="1772793">
                <a:moveTo>
                  <a:pt x="841629" y="0"/>
                </a:moveTo>
                <a:lnTo>
                  <a:pt x="185674" y="1381887"/>
                </a:lnTo>
                <a:lnTo>
                  <a:pt x="185674" y="1381887"/>
                </a:lnTo>
                <a:lnTo>
                  <a:pt x="0" y="1772793"/>
                </a:lnTo>
                <a:lnTo>
                  <a:pt x="1305814" y="1772793"/>
                </a:lnTo>
                <a:lnTo>
                  <a:pt x="1491107" y="1381887"/>
                </a:lnTo>
                <a:lnTo>
                  <a:pt x="2146681" y="0"/>
                </a:lnTo>
                <a:lnTo>
                  <a:pt x="841629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7" name="Free-form: Shape 16">
            <a:extLst>
              <a:ext uri="{FF2B5EF4-FFF2-40B4-BE49-F238E27FC236}">
                <a16:creationId xmlns:a16="http://schemas.microsoft.com/office/drawing/2014/main" id="{F401E06B-775A-30BB-3913-21352C520CFE}"/>
              </a:ext>
            </a:extLst>
          </p:cNvPr>
          <p:cNvSpPr/>
          <p:nvPr/>
        </p:nvSpPr>
        <p:spPr>
          <a:xfrm>
            <a:off x="6700954" y="5338110"/>
            <a:ext cx="1526405" cy="1523273"/>
          </a:xfrm>
          <a:custGeom>
            <a:avLst/>
            <a:gdLst>
              <a:gd name="connsiteX0" fmla="*/ 655955 w 1305433"/>
              <a:gd name="connsiteY0" fmla="*/ 0 h 1381886"/>
              <a:gd name="connsiteX1" fmla="*/ 0 w 1305433"/>
              <a:gd name="connsiteY1" fmla="*/ 1381887 h 1381886"/>
              <a:gd name="connsiteX2" fmla="*/ 1305433 w 1305433"/>
              <a:gd name="connsiteY2" fmla="*/ 1381887 h 1381886"/>
              <a:gd name="connsiteX3" fmla="*/ 655955 w 1305433"/>
              <a:gd name="connsiteY3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305433" h="1381886">
                <a:moveTo>
                  <a:pt x="655955" y="0"/>
                </a:moveTo>
                <a:lnTo>
                  <a:pt x="0" y="1381887"/>
                </a:lnTo>
                <a:lnTo>
                  <a:pt x="1305433" y="1381887"/>
                </a:lnTo>
                <a:lnTo>
                  <a:pt x="655955" y="0"/>
                </a:lnTo>
                <a:close/>
              </a:path>
            </a:pathLst>
          </a:custGeom>
          <a:solidFill>
            <a:srgbClr val="FFFFFF">
              <a:alpha val="3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4A622ED0-B24F-3B6E-F173-57D708F0907F}"/>
              </a:ext>
            </a:extLst>
          </p:cNvPr>
          <p:cNvSpPr/>
          <p:nvPr/>
        </p:nvSpPr>
        <p:spPr>
          <a:xfrm>
            <a:off x="7467943" y="5338110"/>
            <a:ext cx="2285375" cy="1523273"/>
          </a:xfrm>
          <a:custGeom>
            <a:avLst/>
            <a:gdLst>
              <a:gd name="connsiteX0" fmla="*/ 0 w 1954530"/>
              <a:gd name="connsiteY0" fmla="*/ 0 h 1381886"/>
              <a:gd name="connsiteX1" fmla="*/ 649478 w 1954530"/>
              <a:gd name="connsiteY1" fmla="*/ 1381887 h 1381886"/>
              <a:gd name="connsiteX2" fmla="*/ 1954530 w 1954530"/>
              <a:gd name="connsiteY2" fmla="*/ 1381887 h 1381886"/>
              <a:gd name="connsiteX3" fmla="*/ 1305052 w 1954530"/>
              <a:gd name="connsiteY3" fmla="*/ 0 h 1381886"/>
              <a:gd name="connsiteX4" fmla="*/ 0 w 1954530"/>
              <a:gd name="connsiteY4" fmla="*/ 0 h 13818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4530" h="1381886">
                <a:moveTo>
                  <a:pt x="0" y="0"/>
                </a:moveTo>
                <a:lnTo>
                  <a:pt x="649478" y="1381887"/>
                </a:lnTo>
                <a:lnTo>
                  <a:pt x="1954530" y="1381887"/>
                </a:lnTo>
                <a:cubicBezTo>
                  <a:pt x="1954530" y="1381887"/>
                  <a:pt x="1305052" y="0"/>
                  <a:pt x="1305052" y="0"/>
                </a:cubicBezTo>
                <a:lnTo>
                  <a:pt x="0" y="0"/>
                </a:lnTo>
                <a:close/>
              </a:path>
            </a:pathLst>
          </a:custGeom>
          <a:solidFill>
            <a:srgbClr val="FFFFFF">
              <a:alpha val="50000"/>
            </a:srgbClr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AU" sz="2263">
              <a:solidFill>
                <a:schemeClr val="accent6"/>
              </a:solidFill>
            </a:endParaRPr>
          </a:p>
        </p:txBody>
      </p:sp>
      <p:sp>
        <p:nvSpPr>
          <p:cNvPr id="19" name="Free-form: Shape 18">
            <a:extLst>
              <a:ext uri="{FF2B5EF4-FFF2-40B4-BE49-F238E27FC236}">
                <a16:creationId xmlns:a16="http://schemas.microsoft.com/office/drawing/2014/main" id="{08AA25C4-22B1-CB03-84BA-7BD988A74B2E}"/>
              </a:ext>
            </a:extLst>
          </p:cNvPr>
          <p:cNvSpPr/>
          <p:nvPr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>
              <a:solidFill>
                <a:schemeClr val="accent6"/>
              </a:solidFill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71028729-A80B-CFBD-7F6F-30AE3409850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23" name="Footer Placeholder 22">
            <a:extLst>
              <a:ext uri="{FF2B5EF4-FFF2-40B4-BE49-F238E27FC236}">
                <a16:creationId xmlns:a16="http://schemas.microsoft.com/office/drawing/2014/main" id="{033E79D6-E595-ECEE-10ED-A5E97240EF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25" name="Slide Number Placeholder 24">
            <a:extLst>
              <a:ext uri="{FF2B5EF4-FFF2-40B4-BE49-F238E27FC236}">
                <a16:creationId xmlns:a16="http://schemas.microsoft.com/office/drawing/2014/main" id="{EB24A637-B2FA-CB5F-8581-6598E9C59D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F0F89C6-5D9B-55DA-9539-83F396DFFBA1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821242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-form: Shape 9">
            <a:extLst>
              <a:ext uri="{FF2B5EF4-FFF2-40B4-BE49-F238E27FC236}">
                <a16:creationId xmlns:a16="http://schemas.microsoft.com/office/drawing/2014/main" id="{A13DD76C-B0DF-5844-46E8-ACA7008494DC}"/>
              </a:ext>
            </a:extLst>
          </p:cNvPr>
          <p:cNvSpPr/>
          <p:nvPr userDrawn="1"/>
        </p:nvSpPr>
        <p:spPr>
          <a:xfrm>
            <a:off x="5418084" y="0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2DCABD5A-B67F-F174-BA18-01F969DC1B68}"/>
              </a:ext>
            </a:extLst>
          </p:cNvPr>
          <p:cNvSpPr/>
          <p:nvPr/>
        </p:nvSpPr>
        <p:spPr>
          <a:xfrm>
            <a:off x="4814261" y="2462353"/>
            <a:ext cx="5877551" cy="4400883"/>
          </a:xfrm>
          <a:custGeom>
            <a:avLst/>
            <a:gdLst>
              <a:gd name="connsiteX0" fmla="*/ 0 w 5026680"/>
              <a:gd name="connsiteY0" fmla="*/ 0 h 3992401"/>
              <a:gd name="connsiteX1" fmla="*/ 5026680 w 5026680"/>
              <a:gd name="connsiteY1" fmla="*/ 0 h 3992401"/>
              <a:gd name="connsiteX2" fmla="*/ 5026680 w 5026680"/>
              <a:gd name="connsiteY2" fmla="*/ 3992401 h 3992401"/>
              <a:gd name="connsiteX3" fmla="*/ 2920561 w 5026680"/>
              <a:gd name="connsiteY3" fmla="*/ 3992401 h 3992401"/>
              <a:gd name="connsiteX4" fmla="*/ 1025695 w 5026680"/>
              <a:gd name="connsiteY4" fmla="*/ 10950 h 3992401"/>
              <a:gd name="connsiteX5" fmla="*/ 4897 w 5026680"/>
              <a:gd name="connsiteY5" fmla="*/ 10820 h 3992401"/>
              <a:gd name="connsiteX6" fmla="*/ 0 w 5026680"/>
              <a:gd name="connsiteY6" fmla="*/ 0 h 39924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5026680" h="3992401">
                <a:moveTo>
                  <a:pt x="0" y="0"/>
                </a:moveTo>
                <a:lnTo>
                  <a:pt x="5026680" y="0"/>
                </a:lnTo>
                <a:lnTo>
                  <a:pt x="5026680" y="3992401"/>
                </a:lnTo>
                <a:lnTo>
                  <a:pt x="2920561" y="3992401"/>
                </a:lnTo>
                <a:lnTo>
                  <a:pt x="1025695" y="10950"/>
                </a:lnTo>
                <a:lnTo>
                  <a:pt x="4897" y="10820"/>
                </a:lnTo>
                <a:lnTo>
                  <a:pt x="0" y="0"/>
                </a:lnTo>
                <a:close/>
              </a:path>
            </a:pathLst>
          </a:custGeom>
          <a:solidFill>
            <a:schemeClr val="bg2"/>
          </a:solidFill>
          <a:ln w="4757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0" name="Picture Placeholder 39">
            <a:extLst>
              <a:ext uri="{FF2B5EF4-FFF2-40B4-BE49-F238E27FC236}">
                <a16:creationId xmlns:a16="http://schemas.microsoft.com/office/drawing/2014/main" id="{5B925039-3386-9DB3-1F58-4C26FF278362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2" y="2462353"/>
            <a:ext cx="8234781" cy="4400617"/>
          </a:xfrm>
          <a:custGeom>
            <a:avLst/>
            <a:gdLst>
              <a:gd name="connsiteX0" fmla="*/ 0 w 7042663"/>
              <a:gd name="connsiteY0" fmla="*/ 0 h 3992160"/>
              <a:gd name="connsiteX1" fmla="*/ 5143014 w 7042663"/>
              <a:gd name="connsiteY1" fmla="*/ 658 h 3992160"/>
              <a:gd name="connsiteX2" fmla="*/ 7042663 w 7042663"/>
              <a:gd name="connsiteY2" fmla="*/ 3992160 h 3992160"/>
              <a:gd name="connsiteX3" fmla="*/ 0 w 7042663"/>
              <a:gd name="connsiteY3" fmla="*/ 3992160 h 39921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042663" h="3992160">
                <a:moveTo>
                  <a:pt x="0" y="0"/>
                </a:moveTo>
                <a:lnTo>
                  <a:pt x="5143014" y="658"/>
                </a:lnTo>
                <a:lnTo>
                  <a:pt x="7042663" y="3992160"/>
                </a:lnTo>
                <a:lnTo>
                  <a:pt x="0" y="3992160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504000" tIns="288000" rIns="3600000" bIns="360000" anchor="t" anchorCtr="0">
            <a:noAutofit/>
          </a:bodyPr>
          <a:lstStyle>
            <a:lvl1pPr algn="l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28BBBDA6-519A-05D0-4F6B-24B47AD172E0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Free-form: Shape 14">
            <a:extLst>
              <a:ext uri="{FF2B5EF4-FFF2-40B4-BE49-F238E27FC236}">
                <a16:creationId xmlns:a16="http://schemas.microsoft.com/office/drawing/2014/main" id="{8CF85D78-FC0B-F4EA-1EF4-C857106FD948}"/>
              </a:ext>
            </a:extLst>
          </p:cNvPr>
          <p:cNvSpPr/>
          <p:nvPr userDrawn="1"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EF67C86E-C469-E935-8F6B-B956C4B551E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FD4EB4A5-D3CA-B552-1419-ADCF6DC9E32A}"/>
              </a:ext>
            </a:extLst>
          </p:cNvPr>
          <p:cNvSpPr>
            <a:spLocks noGrp="1" noChangeAspect="1"/>
          </p:cNvSpPr>
          <p:nvPr>
            <p:ph type="body" sz="quarter" idx="25"/>
          </p:nvPr>
        </p:nvSpPr>
        <p:spPr>
          <a:xfrm>
            <a:off x="6700954" y="5338110"/>
            <a:ext cx="1526405" cy="1523275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6351E1D-0587-2E7B-55B8-06B2E8737F98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7467943" y="5338109"/>
            <a:ext cx="1526544" cy="152384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02C71BA1-4727-3A94-C697-2772234AF9F2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820679" y="2462353"/>
            <a:ext cx="1793997" cy="1197229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1" name="Text Placeholder 24">
            <a:extLst>
              <a:ext uri="{FF2B5EF4-FFF2-40B4-BE49-F238E27FC236}">
                <a16:creationId xmlns:a16="http://schemas.microsoft.com/office/drawing/2014/main" id="{D8F58367-9BE9-C43F-398C-868E3E4B9FF4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418084" y="2462353"/>
            <a:ext cx="1203008" cy="1198437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8FE88D8-DD84-A127-C179-33FF11FEAF63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7467941" y="5338110"/>
            <a:ext cx="2285375" cy="1523275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42" name="Free-form: Shape 41">
            <a:extLst>
              <a:ext uri="{FF2B5EF4-FFF2-40B4-BE49-F238E27FC236}">
                <a16:creationId xmlns:a16="http://schemas.microsoft.com/office/drawing/2014/main" id="{3FD0863A-B744-BA87-F617-4BBA1966EEB8}"/>
              </a:ext>
            </a:extLst>
          </p:cNvPr>
          <p:cNvSpPr/>
          <p:nvPr userDrawn="1"/>
        </p:nvSpPr>
        <p:spPr>
          <a:xfrm>
            <a:off x="6016052" y="2462353"/>
            <a:ext cx="1203008" cy="1198437"/>
          </a:xfrm>
          <a:custGeom>
            <a:avLst/>
            <a:gdLst>
              <a:gd name="connsiteX0" fmla="*/ 0 w 1028853"/>
              <a:gd name="connsiteY0" fmla="*/ 0 h 1087200"/>
              <a:gd name="connsiteX1" fmla="*/ 1028853 w 1028853"/>
              <a:gd name="connsiteY1" fmla="*/ 0 h 1087200"/>
              <a:gd name="connsiteX2" fmla="*/ 511439 w 1028853"/>
              <a:gd name="connsiteY2" fmla="*/ 1087200 h 1087200"/>
              <a:gd name="connsiteX3" fmla="*/ 0 w 1028853"/>
              <a:gd name="connsiteY3" fmla="*/ 0 h 1087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028853" h="1087200">
                <a:moveTo>
                  <a:pt x="0" y="0"/>
                </a:moveTo>
                <a:lnTo>
                  <a:pt x="1028853" y="0"/>
                </a:lnTo>
                <a:lnTo>
                  <a:pt x="511439" y="1087200"/>
                </a:lnTo>
                <a:cubicBezTo>
                  <a:pt x="511439" y="1087200"/>
                  <a:pt x="0" y="0"/>
                  <a:pt x="0" y="0"/>
                </a:cubicBezTo>
                <a:close/>
              </a:path>
            </a:pathLst>
          </a:custGeom>
          <a:solidFill>
            <a:srgbClr val="CEDC00">
              <a:alpha val="66000"/>
            </a:srgbClr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48" name="Footer Placeholder 47">
            <a:extLst>
              <a:ext uri="{FF2B5EF4-FFF2-40B4-BE49-F238E27FC236}">
                <a16:creationId xmlns:a16="http://schemas.microsoft.com/office/drawing/2014/main" id="{3B780439-4CEB-319E-36A6-2245E0E90D82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9" name="Slide Number Placeholder 48">
            <a:extLst>
              <a:ext uri="{FF2B5EF4-FFF2-40B4-BE49-F238E27FC236}">
                <a16:creationId xmlns:a16="http://schemas.microsoft.com/office/drawing/2014/main" id="{E12E50E5-2AB4-40F8-DB59-DD28CB45376C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12697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-full wid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Free-form: Shape 19">
            <a:extLst>
              <a:ext uri="{FF2B5EF4-FFF2-40B4-BE49-F238E27FC236}">
                <a16:creationId xmlns:a16="http://schemas.microsoft.com/office/drawing/2014/main" id="{660CC324-D8B6-FA03-A350-EA9CC846ABF1}"/>
              </a:ext>
            </a:extLst>
          </p:cNvPr>
          <p:cNvSpPr/>
          <p:nvPr userDrawn="1"/>
        </p:nvSpPr>
        <p:spPr>
          <a:xfrm>
            <a:off x="5418084" y="0"/>
            <a:ext cx="3039296" cy="3659583"/>
          </a:xfrm>
          <a:custGeom>
            <a:avLst/>
            <a:gdLst>
              <a:gd name="connsiteX0" fmla="*/ 2599309 w 2599309"/>
              <a:gd name="connsiteY0" fmla="*/ 0 h 3319907"/>
              <a:gd name="connsiteX1" fmla="*/ 1567307 w 2599309"/>
              <a:gd name="connsiteY1" fmla="*/ 0 h 3319907"/>
              <a:gd name="connsiteX2" fmla="*/ 1161923 w 2599309"/>
              <a:gd name="connsiteY2" fmla="*/ 859155 h 3319907"/>
              <a:gd name="connsiteX3" fmla="*/ 1161161 w 2599309"/>
              <a:gd name="connsiteY3" fmla="*/ 859155 h 3319907"/>
              <a:gd name="connsiteX4" fmla="*/ 0 w 2599309"/>
              <a:gd name="connsiteY4" fmla="*/ 3319907 h 3319907"/>
              <a:gd name="connsiteX5" fmla="*/ 1023366 w 2599309"/>
              <a:gd name="connsiteY5" fmla="*/ 3319907 h 3319907"/>
              <a:gd name="connsiteX6" fmla="*/ 2194560 w 2599309"/>
              <a:gd name="connsiteY6" fmla="*/ 859155 h 3319907"/>
              <a:gd name="connsiteX7" fmla="*/ 2190369 w 2599309"/>
              <a:gd name="connsiteY7" fmla="*/ 859155 h 3319907"/>
              <a:gd name="connsiteX8" fmla="*/ 2599309 w 2599309"/>
              <a:gd name="connsiteY8" fmla="*/ 0 h 33199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599309" h="3319907">
                <a:moveTo>
                  <a:pt x="2599309" y="0"/>
                </a:moveTo>
                <a:lnTo>
                  <a:pt x="1567307" y="0"/>
                </a:lnTo>
                <a:lnTo>
                  <a:pt x="1161923" y="859155"/>
                </a:lnTo>
                <a:lnTo>
                  <a:pt x="1161161" y="859155"/>
                </a:lnTo>
                <a:lnTo>
                  <a:pt x="0" y="3319907"/>
                </a:lnTo>
                <a:lnTo>
                  <a:pt x="1023366" y="3319907"/>
                </a:lnTo>
                <a:lnTo>
                  <a:pt x="2194560" y="859155"/>
                </a:lnTo>
                <a:lnTo>
                  <a:pt x="2190369" y="859155"/>
                </a:lnTo>
                <a:lnTo>
                  <a:pt x="2599309" y="0"/>
                </a:lnTo>
                <a:close/>
              </a:path>
            </a:pathLst>
          </a:custGeom>
          <a:solidFill>
            <a:srgbClr val="CEDC00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B41F336-5118-C5C9-E8E5-6A5CCDE66F5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-1" y="2461966"/>
            <a:ext cx="10700397" cy="4400882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504000" tIns="288000" rIns="5760000" bIns="360000" anchor="t" anchorCtr="0">
            <a:noAutofit/>
          </a:bodyPr>
          <a:lstStyle>
            <a:lvl1pPr algn="l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6B334685-C921-7BF8-BD42-E66D7F73CDE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8002" y="614693"/>
            <a:ext cx="5366953" cy="1587333"/>
          </a:xfrm>
        </p:spPr>
        <p:txBody>
          <a:bodyPr/>
          <a:lstStyle>
            <a:lvl1pPr marL="0" indent="0" algn="l">
              <a:buNone/>
              <a:defRPr sz="3417" b="0">
                <a:solidFill>
                  <a:schemeClr val="accent6"/>
                </a:solidFill>
              </a:defRPr>
            </a:lvl1pPr>
            <a:lvl2pPr marL="0" indent="0" algn="l">
              <a:buNone/>
              <a:defRPr sz="2535" b="0">
                <a:solidFill>
                  <a:schemeClr val="accent6"/>
                </a:solidFill>
              </a:defRPr>
            </a:lvl2pPr>
            <a:lvl3pPr marL="0" indent="0" algn="l">
              <a:buNone/>
              <a:defRPr sz="2535" b="0">
                <a:solidFill>
                  <a:schemeClr val="accent6"/>
                </a:solidFill>
              </a:defRPr>
            </a:lvl3pPr>
            <a:lvl4pPr marL="0" indent="0" algn="l">
              <a:buNone/>
              <a:defRPr sz="2535" b="0">
                <a:solidFill>
                  <a:schemeClr val="accent6"/>
                </a:solidFill>
              </a:defRPr>
            </a:lvl4pPr>
            <a:lvl5pPr marL="0" indent="0" algn="l">
              <a:buNone/>
              <a:defRPr sz="2535" b="0">
                <a:solidFill>
                  <a:schemeClr val="accent6"/>
                </a:solidFill>
              </a:defRPr>
            </a:lvl5pPr>
            <a:lvl6pPr marL="0" indent="0" algn="l">
              <a:buNone/>
              <a:defRPr sz="2535" b="0">
                <a:solidFill>
                  <a:schemeClr val="accent6"/>
                </a:solidFill>
              </a:defRPr>
            </a:lvl6pPr>
            <a:lvl7pPr marL="0" indent="0" algn="l">
              <a:buNone/>
              <a:defRPr sz="2535" b="0">
                <a:solidFill>
                  <a:schemeClr val="accent6"/>
                </a:solidFill>
              </a:defRPr>
            </a:lvl7pPr>
            <a:lvl8pPr marL="0" indent="0" algn="l">
              <a:buNone/>
              <a:defRPr sz="2535" b="0">
                <a:solidFill>
                  <a:schemeClr val="accent6"/>
                </a:solidFill>
              </a:defRPr>
            </a:lvl8pPr>
            <a:lvl9pPr marL="0" indent="0" algn="l">
              <a:buNone/>
              <a:defRPr sz="2535" b="0">
                <a:solidFill>
                  <a:schemeClr val="accent6"/>
                </a:solidFill>
              </a:defRPr>
            </a:lvl9pPr>
          </a:lstStyle>
          <a:p>
            <a:r>
              <a:rPr lang="en-AU" dirty="0"/>
              <a:t>Title heading-first level</a:t>
            </a:r>
            <a:endParaRPr lang="en-GB" dirty="0"/>
          </a:p>
          <a:p>
            <a:pPr lvl="1"/>
            <a:r>
              <a:rPr lang="en-US" dirty="0"/>
              <a:t>Subheading-second level</a:t>
            </a:r>
            <a:endParaRPr lang="en-GB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E872F9-2264-1A70-83DD-6A9D9E266E05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A9AE11B7-4DF9-5F56-C639-44F49C6B670E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18" name="Free-form: Shape 17">
            <a:extLst>
              <a:ext uri="{FF2B5EF4-FFF2-40B4-BE49-F238E27FC236}">
                <a16:creationId xmlns:a16="http://schemas.microsoft.com/office/drawing/2014/main" id="{E7A27014-865C-F1D4-CAF7-08476B875D17}"/>
              </a:ext>
            </a:extLst>
          </p:cNvPr>
          <p:cNvSpPr/>
          <p:nvPr userDrawn="1"/>
        </p:nvSpPr>
        <p:spPr>
          <a:xfrm>
            <a:off x="6350202" y="6861384"/>
            <a:ext cx="1877156" cy="698290"/>
          </a:xfrm>
          <a:custGeom>
            <a:avLst/>
            <a:gdLst>
              <a:gd name="connsiteX0" fmla="*/ 1605407 w 1605407"/>
              <a:gd name="connsiteY0" fmla="*/ 0 h 633476"/>
              <a:gd name="connsiteX1" fmla="*/ 299974 w 1605407"/>
              <a:gd name="connsiteY1" fmla="*/ 0 h 633476"/>
              <a:gd name="connsiteX2" fmla="*/ 114300 w 1605407"/>
              <a:gd name="connsiteY2" fmla="*/ 390906 h 633476"/>
              <a:gd name="connsiteX3" fmla="*/ 115189 w 1605407"/>
              <a:gd name="connsiteY3" fmla="*/ 390906 h 633476"/>
              <a:gd name="connsiteX4" fmla="*/ 0 w 1605407"/>
              <a:gd name="connsiteY4" fmla="*/ 633476 h 633476"/>
              <a:gd name="connsiteX5" fmla="*/ 1305814 w 1605407"/>
              <a:gd name="connsiteY5" fmla="*/ 633476 h 633476"/>
              <a:gd name="connsiteX6" fmla="*/ 1490472 w 1605407"/>
              <a:gd name="connsiteY6" fmla="*/ 243713 h 633476"/>
              <a:gd name="connsiteX7" fmla="*/ 1489837 w 1605407"/>
              <a:gd name="connsiteY7" fmla="*/ 243713 h 633476"/>
              <a:gd name="connsiteX8" fmla="*/ 1605407 w 1605407"/>
              <a:gd name="connsiteY8" fmla="*/ 0 h 6334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605407" h="633476">
                <a:moveTo>
                  <a:pt x="1605407" y="0"/>
                </a:moveTo>
                <a:lnTo>
                  <a:pt x="299974" y="0"/>
                </a:lnTo>
                <a:lnTo>
                  <a:pt x="114300" y="390906"/>
                </a:lnTo>
                <a:lnTo>
                  <a:pt x="115189" y="390906"/>
                </a:lnTo>
                <a:lnTo>
                  <a:pt x="0" y="633476"/>
                </a:lnTo>
                <a:lnTo>
                  <a:pt x="1305814" y="633476"/>
                </a:lnTo>
                <a:lnTo>
                  <a:pt x="1490472" y="243713"/>
                </a:lnTo>
                <a:lnTo>
                  <a:pt x="1489837" y="243713"/>
                </a:lnTo>
                <a:lnTo>
                  <a:pt x="1605407" y="0"/>
                </a:lnTo>
                <a:close/>
              </a:path>
            </a:pathLst>
          </a:custGeom>
          <a:solidFill>
            <a:srgbClr val="00B2A9"/>
          </a:solidFill>
          <a:ln w="12695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2263"/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FA7A3D40-02AD-DBB9-335F-21278C945676}"/>
              </a:ext>
            </a:extLst>
          </p:cNvPr>
          <p:cNvCxnSpPr/>
          <p:nvPr userDrawn="1"/>
        </p:nvCxnSpPr>
        <p:spPr>
          <a:xfrm>
            <a:off x="9621984" y="7125695"/>
            <a:ext cx="0" cy="171493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Graphic 25">
            <a:extLst>
              <a:ext uri="{FF2B5EF4-FFF2-40B4-BE49-F238E27FC236}">
                <a16:creationId xmlns:a16="http://schemas.microsoft.com/office/drawing/2014/main" id="{3D3D7C47-BE68-07DE-DF7D-956176BFA7C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307087" y="997347"/>
            <a:ext cx="1961508" cy="567943"/>
          </a:xfrm>
          <a:prstGeom prst="rect">
            <a:avLst/>
          </a:prstGeom>
        </p:spPr>
      </p:pic>
      <p:sp>
        <p:nvSpPr>
          <p:cNvPr id="37" name="Text Placeholder 36">
            <a:extLst>
              <a:ext uri="{FF2B5EF4-FFF2-40B4-BE49-F238E27FC236}">
                <a16:creationId xmlns:a16="http://schemas.microsoft.com/office/drawing/2014/main" id="{CFB86533-F1A5-7166-E415-5B35F9186D90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6700954" y="5338110"/>
            <a:ext cx="1526405" cy="1523275"/>
          </a:xfrm>
          <a:custGeom>
            <a:avLst/>
            <a:gdLst>
              <a:gd name="connsiteX0" fmla="*/ 655955 w 1305433"/>
              <a:gd name="connsiteY0" fmla="*/ 0 h 1381887"/>
              <a:gd name="connsiteX1" fmla="*/ 1305433 w 1305433"/>
              <a:gd name="connsiteY1" fmla="*/ 1381887 h 1381887"/>
              <a:gd name="connsiteX2" fmla="*/ 0 w 1305433"/>
              <a:gd name="connsiteY2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305433" h="1381887">
                <a:moveTo>
                  <a:pt x="655955" y="0"/>
                </a:moveTo>
                <a:lnTo>
                  <a:pt x="1305433" y="1381887"/>
                </a:lnTo>
                <a:lnTo>
                  <a:pt x="0" y="1381887"/>
                </a:lnTo>
                <a:close/>
              </a:path>
            </a:pathLst>
          </a:custGeom>
          <a:solidFill>
            <a:schemeClr val="tx2">
              <a:alpha val="66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8EBBF75-4777-D465-98BA-F612C441DE8E}"/>
              </a:ext>
            </a:extLst>
          </p:cNvPr>
          <p:cNvSpPr>
            <a:spLocks noGrp="1" noChangeAspect="1"/>
          </p:cNvSpPr>
          <p:nvPr>
            <p:ph type="body" sz="quarter" idx="22"/>
          </p:nvPr>
        </p:nvSpPr>
        <p:spPr>
          <a:xfrm>
            <a:off x="7467943" y="5338109"/>
            <a:ext cx="1526544" cy="1523840"/>
          </a:xfrm>
          <a:custGeom>
            <a:avLst/>
            <a:gdLst>
              <a:gd name="connsiteX0" fmla="*/ 0 w 2119820"/>
              <a:gd name="connsiteY0" fmla="*/ 0 h 2244597"/>
              <a:gd name="connsiteX1" fmla="*/ 2119757 w 2119820"/>
              <a:gd name="connsiteY1" fmla="*/ 0 h 2244597"/>
              <a:gd name="connsiteX2" fmla="*/ 2119820 w 2119820"/>
              <a:gd name="connsiteY2" fmla="*/ 135 h 2244597"/>
              <a:gd name="connsiteX3" fmla="*/ 1054953 w 2119820"/>
              <a:gd name="connsiteY3" fmla="*/ 2244597 h 2244597"/>
              <a:gd name="connsiteX4" fmla="*/ 1054925 w 2119820"/>
              <a:gd name="connsiteY4" fmla="*/ 2244597 h 22445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119820" h="2244597">
                <a:moveTo>
                  <a:pt x="0" y="0"/>
                </a:moveTo>
                <a:lnTo>
                  <a:pt x="2119757" y="0"/>
                </a:lnTo>
                <a:lnTo>
                  <a:pt x="2119820" y="135"/>
                </a:lnTo>
                <a:lnTo>
                  <a:pt x="1054953" y="2244597"/>
                </a:lnTo>
                <a:lnTo>
                  <a:pt x="1054925" y="2244597"/>
                </a:lnTo>
                <a:close/>
              </a:path>
            </a:pathLst>
          </a:custGeom>
          <a:solidFill>
            <a:schemeClr val="tx2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1" name="Text Placeholder 5">
            <a:extLst>
              <a:ext uri="{FF2B5EF4-FFF2-40B4-BE49-F238E27FC236}">
                <a16:creationId xmlns:a16="http://schemas.microsoft.com/office/drawing/2014/main" id="{5797021D-985E-0973-26CF-15DF51748122}"/>
              </a:ext>
            </a:extLst>
          </p:cNvPr>
          <p:cNvSpPr>
            <a:spLocks noGrp="1" noChangeAspect="1"/>
          </p:cNvSpPr>
          <p:nvPr>
            <p:ph type="body" sz="quarter" idx="23"/>
          </p:nvPr>
        </p:nvSpPr>
        <p:spPr>
          <a:xfrm>
            <a:off x="6016052" y="2461966"/>
            <a:ext cx="1203008" cy="1198437"/>
          </a:xfrm>
          <a:custGeom>
            <a:avLst/>
            <a:gdLst>
              <a:gd name="connsiteX0" fmla="*/ 0 w 1661668"/>
              <a:gd name="connsiteY0" fmla="*/ 0 h 1755902"/>
              <a:gd name="connsiteX1" fmla="*/ 1661668 w 1661668"/>
              <a:gd name="connsiteY1" fmla="*/ 0 h 1755902"/>
              <a:gd name="connsiteX2" fmla="*/ 826009 w 1661668"/>
              <a:gd name="connsiteY2" fmla="*/ 1755902 h 1755902"/>
              <a:gd name="connsiteX3" fmla="*/ 0 w 1661668"/>
              <a:gd name="connsiteY3" fmla="*/ 0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661668" h="1755902">
                <a:moveTo>
                  <a:pt x="0" y="0"/>
                </a:moveTo>
                <a:lnTo>
                  <a:pt x="1661668" y="0"/>
                </a:lnTo>
                <a:lnTo>
                  <a:pt x="826009" y="1755902"/>
                </a:lnTo>
                <a:cubicBezTo>
                  <a:pt x="826009" y="1755902"/>
                  <a:pt x="0" y="0"/>
                  <a:pt x="0" y="0"/>
                </a:cubicBez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2" name="Text Placeholder 31">
            <a:extLst>
              <a:ext uri="{FF2B5EF4-FFF2-40B4-BE49-F238E27FC236}">
                <a16:creationId xmlns:a16="http://schemas.microsoft.com/office/drawing/2014/main" id="{EB2E7923-7ED8-1CD8-94BA-243F169D2D8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820679" y="2461966"/>
            <a:ext cx="1793997" cy="1197229"/>
          </a:xfrm>
          <a:custGeom>
            <a:avLst/>
            <a:gdLst>
              <a:gd name="connsiteX0" fmla="*/ 0 w 1534287"/>
              <a:gd name="connsiteY0" fmla="*/ 0 h 1086104"/>
              <a:gd name="connsiteX1" fmla="*/ 1023366 w 1534287"/>
              <a:gd name="connsiteY1" fmla="*/ 0 h 1086104"/>
              <a:gd name="connsiteX2" fmla="*/ 1534287 w 1534287"/>
              <a:gd name="connsiteY2" fmla="*/ 1086104 h 1086104"/>
              <a:gd name="connsiteX3" fmla="*/ 510921 w 1534287"/>
              <a:gd name="connsiteY3" fmla="*/ 1086104 h 1086104"/>
              <a:gd name="connsiteX4" fmla="*/ 0 w 1534287"/>
              <a:gd name="connsiteY4" fmla="*/ 0 h 1086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534287" h="1086104">
                <a:moveTo>
                  <a:pt x="0" y="0"/>
                </a:moveTo>
                <a:lnTo>
                  <a:pt x="1023366" y="0"/>
                </a:lnTo>
                <a:lnTo>
                  <a:pt x="1534287" y="1086104"/>
                </a:lnTo>
                <a:lnTo>
                  <a:pt x="510921" y="1086104"/>
                </a:lnTo>
                <a:cubicBezTo>
                  <a:pt x="510921" y="1086104"/>
                  <a:pt x="0" y="0"/>
                  <a:pt x="0" y="0"/>
                </a:cubicBez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5" name="Text Placeholder 24">
            <a:extLst>
              <a:ext uri="{FF2B5EF4-FFF2-40B4-BE49-F238E27FC236}">
                <a16:creationId xmlns:a16="http://schemas.microsoft.com/office/drawing/2014/main" id="{022B79C5-62BF-CA09-6885-DE822CF41B7A}"/>
              </a:ext>
            </a:extLst>
          </p:cNvPr>
          <p:cNvSpPr>
            <a:spLocks noGrp="1" noChangeAspect="1"/>
          </p:cNvSpPr>
          <p:nvPr>
            <p:ph type="body" sz="quarter" idx="20"/>
          </p:nvPr>
        </p:nvSpPr>
        <p:spPr>
          <a:xfrm>
            <a:off x="5418084" y="2461966"/>
            <a:ext cx="1203008" cy="1198437"/>
          </a:xfrm>
          <a:custGeom>
            <a:avLst/>
            <a:gdLst>
              <a:gd name="connsiteX0" fmla="*/ 835659 w 1661668"/>
              <a:gd name="connsiteY0" fmla="*/ 0 h 1755902"/>
              <a:gd name="connsiteX1" fmla="*/ 1661668 w 1661668"/>
              <a:gd name="connsiteY1" fmla="*/ 1755902 h 1755902"/>
              <a:gd name="connsiteX2" fmla="*/ 0 w 1661668"/>
              <a:gd name="connsiteY2" fmla="*/ 1755902 h 17559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661668" h="1755902">
                <a:moveTo>
                  <a:pt x="835659" y="0"/>
                </a:moveTo>
                <a:cubicBezTo>
                  <a:pt x="835659" y="0"/>
                  <a:pt x="1661668" y="1755902"/>
                  <a:pt x="1661668" y="1755902"/>
                </a:cubicBezTo>
                <a:lnTo>
                  <a:pt x="0" y="1755902"/>
                </a:lnTo>
                <a:close/>
              </a:path>
            </a:pathLst>
          </a:custGeom>
          <a:solidFill>
            <a:schemeClr val="accent1">
              <a:alpha val="33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6599D0EC-660D-FC34-6C21-DA20DC3AEAB7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7467941" y="5338110"/>
            <a:ext cx="2285375" cy="1523275"/>
          </a:xfrm>
          <a:custGeom>
            <a:avLst/>
            <a:gdLst>
              <a:gd name="connsiteX0" fmla="*/ 0 w 1954530"/>
              <a:gd name="connsiteY0" fmla="*/ 0 h 1381887"/>
              <a:gd name="connsiteX1" fmla="*/ 1305052 w 1954530"/>
              <a:gd name="connsiteY1" fmla="*/ 0 h 1381887"/>
              <a:gd name="connsiteX2" fmla="*/ 1954530 w 1954530"/>
              <a:gd name="connsiteY2" fmla="*/ 1381887 h 1381887"/>
              <a:gd name="connsiteX3" fmla="*/ 649478 w 1954530"/>
              <a:gd name="connsiteY3" fmla="*/ 1381887 h 13818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54530" h="1381887">
                <a:moveTo>
                  <a:pt x="0" y="0"/>
                </a:moveTo>
                <a:lnTo>
                  <a:pt x="1305052" y="0"/>
                </a:lnTo>
                <a:cubicBezTo>
                  <a:pt x="1305052" y="0"/>
                  <a:pt x="1954530" y="1381887"/>
                  <a:pt x="1954530" y="1381887"/>
                </a:cubicBezTo>
                <a:lnTo>
                  <a:pt x="649478" y="1381887"/>
                </a:lnTo>
                <a:close/>
              </a:path>
            </a:pathLst>
          </a:custGeom>
          <a:solidFill>
            <a:schemeClr val="bg1">
              <a:alpha val="50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045116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F60952-EFEB-073A-2890-058D4ABDFEC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8964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F60952-EFEB-073A-2890-058D4ABDFE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8001" y="2012413"/>
            <a:ext cx="8208282" cy="4365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, or click on one of the central icons to add a table, chart, SmartArt, image or media. Press the ‘Increase/Decrease’ button under the Home tab to move through the text styles.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232169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568001" y="2012413"/>
            <a:ext cx="3788438" cy="436516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This slide can be used for two text boxes, or text and: chart, SmartArt, image or table.</a:t>
            </a:r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87845" y="2012413"/>
            <a:ext cx="3788438" cy="4365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47A1DEDE-6AEA-86E9-4E33-2C1EA515B2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472334-F3BF-4941-B066-A9089F7890EF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A2BBABFD-F4F5-2DE9-E006-D11D24911AF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E07799FD-E5BC-A43F-4E9E-C3BC17F3CF7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60458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7" name="Content Placeholder 8">
            <a:extLst>
              <a:ext uri="{FF2B5EF4-FFF2-40B4-BE49-F238E27FC236}">
                <a16:creationId xmlns:a16="http://schemas.microsoft.com/office/drawing/2014/main" id="{90448248-0EB9-324F-5283-E3BF1DCAAEC8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568001" y="2607662"/>
            <a:ext cx="8208282" cy="376991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Select one of the central icons to add a table, chart, SmartArt, image or media</a:t>
            </a:r>
            <a:endParaRPr lang="en-US" dirty="0"/>
          </a:p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0" name="Date Placeholder 9">
            <a:extLst>
              <a:ext uri="{FF2B5EF4-FFF2-40B4-BE49-F238E27FC236}">
                <a16:creationId xmlns:a16="http://schemas.microsoft.com/office/drawing/2014/main" id="{6105EC4C-205A-AE42-AC77-45023A8CB0A6}"/>
              </a:ext>
            </a:extLst>
          </p:cNvPr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B95440ED-8C89-4301-B204-2D326E26EA6F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11" name="Footer Placeholder 10">
            <a:extLst>
              <a:ext uri="{FF2B5EF4-FFF2-40B4-BE49-F238E27FC236}">
                <a16:creationId xmlns:a16="http://schemas.microsoft.com/office/drawing/2014/main" id="{B0B0CA08-E061-255E-37AD-C77C63384A7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12" name="Slide Number Placeholder 11">
            <a:extLst>
              <a:ext uri="{FF2B5EF4-FFF2-40B4-BE49-F238E27FC236}">
                <a16:creationId xmlns:a16="http://schemas.microsoft.com/office/drawing/2014/main" id="{C310BF31-A4C3-377B-AEC6-33F3A1A293F1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D2EE1AF-A60C-0DAE-29BA-0F1D2FBF76C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8001" y="1805399"/>
            <a:ext cx="8208282" cy="59525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GB" dirty="0"/>
              <a:t>Click to add tex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104156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text and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0DFAE338-542F-062A-113E-84D5DEAC9297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5665175" y="1580922"/>
            <a:ext cx="5020260" cy="5281729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lIns="2520000" tIns="288000" rIns="360000" bIns="360000" anchor="t" anchorCtr="0">
            <a:noAutofit/>
          </a:bodyPr>
          <a:lstStyle>
            <a:lvl1pPr algn="r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3399DAD4-A874-4EAB-AB3C-820568E6E78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8000" y="2012413"/>
            <a:ext cx="6945469" cy="436516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00" y="423804"/>
            <a:ext cx="6945469" cy="7936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B49C342-B9AA-BE4C-DBA6-A414FD6F665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9399417" y="4302722"/>
            <a:ext cx="1286018" cy="2559928"/>
          </a:xfrm>
          <a:custGeom>
            <a:avLst/>
            <a:gdLst>
              <a:gd name="connsiteX0" fmla="*/ 1099846 w 1099846"/>
              <a:gd name="connsiteY0" fmla="*/ 0 h 2322320"/>
              <a:gd name="connsiteX1" fmla="*/ 1099846 w 1099846"/>
              <a:gd name="connsiteY1" fmla="*/ 2322320 h 2322320"/>
              <a:gd name="connsiteX2" fmla="*/ 0 w 1099846"/>
              <a:gd name="connsiteY2" fmla="*/ 2322320 h 23223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099846" h="2322320">
                <a:moveTo>
                  <a:pt x="1099846" y="0"/>
                </a:moveTo>
                <a:lnTo>
                  <a:pt x="1099846" y="2322320"/>
                </a:lnTo>
                <a:lnTo>
                  <a:pt x="0" y="2322320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  <p:sp>
        <p:nvSpPr>
          <p:cNvPr id="39" name="Date Placeholder 38">
            <a:extLst>
              <a:ext uri="{FF2B5EF4-FFF2-40B4-BE49-F238E27FC236}">
                <a16:creationId xmlns:a16="http://schemas.microsoft.com/office/drawing/2014/main" id="{F698BA25-4BD0-67D4-7C71-C0E01B8EC811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920A0E56-D0C5-4B3E-813B-A90A31A1DAA6}" type="datetime1">
              <a:rPr lang="en-GB" smtClean="0"/>
              <a:t>31/07/2023</a:t>
            </a:fld>
            <a:endParaRPr lang="en-GB" dirty="0"/>
          </a:p>
        </p:txBody>
      </p:sp>
      <p:sp>
        <p:nvSpPr>
          <p:cNvPr id="40" name="Footer Placeholder 39">
            <a:extLst>
              <a:ext uri="{FF2B5EF4-FFF2-40B4-BE49-F238E27FC236}">
                <a16:creationId xmlns:a16="http://schemas.microsoft.com/office/drawing/2014/main" id="{9C50C287-886F-8EE0-566B-F65B7FD7A54F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41" name="Slide Number Placeholder 40">
            <a:extLst>
              <a:ext uri="{FF2B5EF4-FFF2-40B4-BE49-F238E27FC236}">
                <a16:creationId xmlns:a16="http://schemas.microsoft.com/office/drawing/2014/main" id="{ECB20DFD-4DFE-0F76-52E2-4F336B547E1E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9800470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laarg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4F04595-8F0F-9159-49EE-2EF24C129E8A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>
          <a:xfrm>
            <a:off x="0" y="1580922"/>
            <a:ext cx="10691813" cy="5271343"/>
          </a:xfrm>
          <a:prstGeom prst="rect">
            <a:avLst/>
          </a:prstGeom>
          <a:solidFill>
            <a:schemeClr val="bg1">
              <a:lumMod val="75000"/>
            </a:schemeClr>
          </a:solidFill>
        </p:spPr>
        <p:txBody>
          <a:bodyPr wrap="square" lIns="648000" tIns="288000" rIns="4320000" bIns="360000" anchor="t" anchorCtr="0">
            <a:noAutofit/>
          </a:bodyPr>
          <a:lstStyle>
            <a:lvl1pPr algn="l">
              <a:defRPr sz="1543" b="0">
                <a:solidFill>
                  <a:schemeClr val="bg1"/>
                </a:solidFill>
                <a:latin typeface="+mj-lt"/>
                <a:ea typeface="Roboto" panose="02000000000000000000" pitchFamily="2" charset="0"/>
              </a:defRPr>
            </a:lvl1pPr>
            <a:lvl2pPr algn="ctr">
              <a:defRPr b="0">
                <a:solidFill>
                  <a:schemeClr val="accent2"/>
                </a:solidFill>
                <a:latin typeface="Roboto" panose="02000000000000000000" pitchFamily="2" charset="0"/>
                <a:ea typeface="Roboto" panose="02000000000000000000" pitchFamily="2" charset="0"/>
              </a:defRPr>
            </a:lvl2pPr>
          </a:lstStyle>
          <a:p>
            <a:r>
              <a:rPr lang="en-AU" dirty="0"/>
              <a:t>To insert an image, select ‘Insert Picture’, or click on icon. Select ‘Picture Format &gt; Crop’ to edit size and position of picture.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64EBA4A-B347-103C-AA7B-74A81B6E6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8001" y="423804"/>
            <a:ext cx="4419844" cy="79366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 dirty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29D1A89-6D04-E6B7-642A-FC4A5D65F2FE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fld id="{3C048CFF-D5A4-4BED-AD1A-14E8D2CBA798}" type="datetime1">
              <a:rPr lang="en-GB" smtClean="0"/>
              <a:pPr/>
              <a:t>31/07/2023</a:t>
            </a:fld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F0ACF10-A8A1-158D-77C0-F1470495E064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7DED0C4-FEDA-7F07-651E-81D65BEE7C93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F2C391D5-CDF7-2EA7-BE15-53AD611FD5D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665175" y="1580922"/>
            <a:ext cx="5020260" cy="5281729"/>
          </a:xfrm>
          <a:custGeom>
            <a:avLst/>
            <a:gdLst>
              <a:gd name="connsiteX0" fmla="*/ 2272483 w 4293496"/>
              <a:gd name="connsiteY0" fmla="*/ 0 h 4791489"/>
              <a:gd name="connsiteX1" fmla="*/ 4293496 w 4293496"/>
              <a:gd name="connsiteY1" fmla="*/ 0 h 4791489"/>
              <a:gd name="connsiteX2" fmla="*/ 4293496 w 4293496"/>
              <a:gd name="connsiteY2" fmla="*/ 4791489 h 4791489"/>
              <a:gd name="connsiteX3" fmla="*/ 0 w 4293496"/>
              <a:gd name="connsiteY3" fmla="*/ 4791489 h 47914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293496" h="4791489">
                <a:moveTo>
                  <a:pt x="2272483" y="0"/>
                </a:moveTo>
                <a:lnTo>
                  <a:pt x="4293496" y="0"/>
                </a:lnTo>
                <a:lnTo>
                  <a:pt x="4293496" y="4791489"/>
                </a:lnTo>
                <a:lnTo>
                  <a:pt x="0" y="4791489"/>
                </a:lnTo>
                <a:close/>
              </a:path>
            </a:pathLst>
          </a:custGeom>
          <a:solidFill>
            <a:schemeClr val="tx2">
              <a:alpha val="65000"/>
            </a:schemeClr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sz="441">
                <a:noFill/>
              </a:defRPr>
            </a:lvl1pPr>
            <a:lvl2pPr marL="0" indent="0">
              <a:spcBef>
                <a:spcPts val="0"/>
              </a:spcBef>
              <a:buNone/>
              <a:defRPr sz="441">
                <a:noFill/>
              </a:defRPr>
            </a:lvl2pPr>
            <a:lvl3pPr marL="0" indent="0">
              <a:spcBef>
                <a:spcPts val="0"/>
              </a:spcBef>
              <a:buNone/>
              <a:defRPr sz="441">
                <a:noFill/>
              </a:defRPr>
            </a:lvl3pPr>
            <a:lvl4pPr>
              <a:spcBef>
                <a:spcPts val="0"/>
              </a:spcBef>
              <a:defRPr sz="441" b="0">
                <a:noFill/>
              </a:defRPr>
            </a:lvl4pPr>
            <a:lvl5pPr>
              <a:spcBef>
                <a:spcPts val="0"/>
              </a:spcBef>
              <a:defRPr sz="441">
                <a:noFill/>
              </a:defRPr>
            </a:lvl5pPr>
            <a:lvl6pPr>
              <a:spcBef>
                <a:spcPts val="0"/>
              </a:spcBef>
              <a:defRPr sz="441">
                <a:noFill/>
              </a:defRPr>
            </a:lvl6pPr>
            <a:lvl7pPr>
              <a:spcBef>
                <a:spcPts val="0"/>
              </a:spcBef>
              <a:defRPr sz="441">
                <a:noFill/>
              </a:defRPr>
            </a:lvl7pPr>
            <a:lvl8pPr>
              <a:spcBef>
                <a:spcPts val="0"/>
              </a:spcBef>
              <a:defRPr sz="441">
                <a:noFill/>
              </a:defRPr>
            </a:lvl8pPr>
            <a:lvl9pPr>
              <a:spcBef>
                <a:spcPts val="0"/>
              </a:spcBef>
              <a:defRPr sz="441">
                <a:noFill/>
              </a:defRPr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5058578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67AD34C0-2B69-0CD4-3E46-603BBC6C59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000056736"/>
              </p:ext>
            </p:extLst>
          </p:nvPr>
        </p:nvGraphicFramePr>
        <p:xfrm>
          <a:off x="1857" y="1751"/>
          <a:ext cx="1857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28" imgH="328" progId="TCLayout.ActiveDocument.1">
                  <p:embed/>
                </p:oleObj>
              </mc:Choice>
              <mc:Fallback>
                <p:oleObj name="think-cell Slide" r:id="rId19" imgW="328" imgH="328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67AD34C0-2B69-0CD4-3E46-603BBC6C59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857" y="1751"/>
                        <a:ext cx="1857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ree-form: Shape 37">
            <a:extLst>
              <a:ext uri="{FF2B5EF4-FFF2-40B4-BE49-F238E27FC236}">
                <a16:creationId xmlns:a16="http://schemas.microsoft.com/office/drawing/2014/main" id="{DEE5F1F6-308B-BAE5-E04C-67ACD64873A7}"/>
              </a:ext>
            </a:extLst>
          </p:cNvPr>
          <p:cNvSpPr/>
          <p:nvPr userDrawn="1"/>
        </p:nvSpPr>
        <p:spPr>
          <a:xfrm>
            <a:off x="0" y="0"/>
            <a:ext cx="10691813" cy="1587333"/>
          </a:xfrm>
          <a:custGeom>
            <a:avLst/>
            <a:gdLst>
              <a:gd name="connsiteX0" fmla="*/ 0 w 12192000"/>
              <a:gd name="connsiteY0" fmla="*/ 0 h 1270000"/>
              <a:gd name="connsiteX1" fmla="*/ 12192000 w 12192000"/>
              <a:gd name="connsiteY1" fmla="*/ 0 h 1270000"/>
              <a:gd name="connsiteX2" fmla="*/ 12192000 w 12192000"/>
              <a:gd name="connsiteY2" fmla="*/ 1270000 h 1270000"/>
              <a:gd name="connsiteX3" fmla="*/ 0 w 12192000"/>
              <a:gd name="connsiteY3" fmla="*/ 1270000 h 127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1270000">
                <a:moveTo>
                  <a:pt x="0" y="0"/>
                </a:moveTo>
                <a:lnTo>
                  <a:pt x="12192000" y="0"/>
                </a:lnTo>
                <a:lnTo>
                  <a:pt x="12192000" y="1270000"/>
                </a:lnTo>
                <a:lnTo>
                  <a:pt x="0" y="1270000"/>
                </a:lnTo>
                <a:close/>
              </a:path>
            </a:pathLst>
          </a:custGeom>
          <a:solidFill>
            <a:srgbClr val="E0EDF8"/>
          </a:solidFill>
          <a:ln w="6350" cap="flat">
            <a:noFill/>
            <a:prstDash val="solid"/>
            <a:miter/>
          </a:ln>
        </p:spPr>
        <p:txBody>
          <a:bodyPr rtlCol="0" anchor="ctr"/>
          <a:lstStyle/>
          <a:p>
            <a:endParaRPr lang="en-AU" sz="1984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0F69CC5-725A-DC9C-EE57-E4195036E597}"/>
              </a:ext>
            </a:extLst>
          </p:cNvPr>
          <p:cNvGrpSpPr/>
          <p:nvPr userDrawn="1"/>
        </p:nvGrpSpPr>
        <p:grpSpPr>
          <a:xfrm>
            <a:off x="8321427" y="0"/>
            <a:ext cx="2370387" cy="1587333"/>
            <a:chOff x="7792497" y="1"/>
            <a:chExt cx="1351502" cy="1269998"/>
          </a:xfrm>
        </p:grpSpPr>
        <p:sp>
          <p:nvSpPr>
            <p:cNvPr id="39" name="Free-form: Shape 38">
              <a:extLst>
                <a:ext uri="{FF2B5EF4-FFF2-40B4-BE49-F238E27FC236}">
                  <a16:creationId xmlns:a16="http://schemas.microsoft.com/office/drawing/2014/main" id="{ACD74EFB-1EB2-C902-2EB7-7A5AC47A3130}"/>
                </a:ext>
              </a:extLst>
            </p:cNvPr>
            <p:cNvSpPr/>
            <p:nvPr userDrawn="1"/>
          </p:nvSpPr>
          <p:spPr>
            <a:xfrm>
              <a:off x="7792497" y="600837"/>
              <a:ext cx="712232" cy="669162"/>
            </a:xfrm>
            <a:custGeom>
              <a:avLst/>
              <a:gdLst>
                <a:gd name="connsiteX0" fmla="*/ 316547 w 949642"/>
                <a:gd name="connsiteY0" fmla="*/ 0 h 669162"/>
                <a:gd name="connsiteX1" fmla="*/ 0 w 949642"/>
                <a:gd name="connsiteY1" fmla="*/ 669163 h 669162"/>
                <a:gd name="connsiteX2" fmla="*/ 633095 w 949642"/>
                <a:gd name="connsiteY2" fmla="*/ 669163 h 669162"/>
                <a:gd name="connsiteX3" fmla="*/ 949643 w 949642"/>
                <a:gd name="connsiteY3" fmla="*/ 0 h 669162"/>
                <a:gd name="connsiteX4" fmla="*/ 316547 w 949642"/>
                <a:gd name="connsiteY4" fmla="*/ 0 h 6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42" h="669162">
                  <a:moveTo>
                    <a:pt x="316547" y="0"/>
                  </a:moveTo>
                  <a:lnTo>
                    <a:pt x="0" y="669163"/>
                  </a:lnTo>
                  <a:lnTo>
                    <a:pt x="633095" y="669163"/>
                  </a:lnTo>
                  <a:cubicBezTo>
                    <a:pt x="633095" y="669163"/>
                    <a:pt x="949643" y="0"/>
                    <a:pt x="949643" y="0"/>
                  </a:cubicBezTo>
                  <a:lnTo>
                    <a:pt x="316547" y="0"/>
                  </a:lnTo>
                  <a:close/>
                </a:path>
              </a:pathLst>
            </a:custGeom>
            <a:solidFill>
              <a:srgbClr val="00B1A8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  <p:sp>
          <p:nvSpPr>
            <p:cNvPr id="40" name="Free-form: Shape 39">
              <a:extLst>
                <a:ext uri="{FF2B5EF4-FFF2-40B4-BE49-F238E27FC236}">
                  <a16:creationId xmlns:a16="http://schemas.microsoft.com/office/drawing/2014/main" id="{E7241B76-7122-AE56-0EFB-6DFFD069ADBB}"/>
                </a:ext>
              </a:extLst>
            </p:cNvPr>
            <p:cNvSpPr/>
            <p:nvPr userDrawn="1"/>
          </p:nvSpPr>
          <p:spPr>
            <a:xfrm>
              <a:off x="8504777" y="1"/>
              <a:ext cx="639222" cy="600837"/>
            </a:xfrm>
            <a:custGeom>
              <a:avLst/>
              <a:gdLst>
                <a:gd name="connsiteX0" fmla="*/ 568198 w 852296"/>
                <a:gd name="connsiteY0" fmla="*/ 600837 h 600837"/>
                <a:gd name="connsiteX1" fmla="*/ 852297 w 852296"/>
                <a:gd name="connsiteY1" fmla="*/ 0 h 600837"/>
                <a:gd name="connsiteX2" fmla="*/ 284099 w 852296"/>
                <a:gd name="connsiteY2" fmla="*/ 0 h 600837"/>
                <a:gd name="connsiteX3" fmla="*/ 0 w 852296"/>
                <a:gd name="connsiteY3" fmla="*/ 600837 h 600837"/>
                <a:gd name="connsiteX4" fmla="*/ 568198 w 852296"/>
                <a:gd name="connsiteY4" fmla="*/ 600837 h 60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296" h="600837">
                  <a:moveTo>
                    <a:pt x="568198" y="600837"/>
                  </a:moveTo>
                  <a:lnTo>
                    <a:pt x="852297" y="0"/>
                  </a:lnTo>
                  <a:lnTo>
                    <a:pt x="284099" y="0"/>
                  </a:lnTo>
                  <a:cubicBezTo>
                    <a:pt x="284099" y="0"/>
                    <a:pt x="0" y="600837"/>
                    <a:pt x="0" y="600837"/>
                  </a:cubicBezTo>
                  <a:lnTo>
                    <a:pt x="568198" y="600837"/>
                  </a:lnTo>
                  <a:close/>
                </a:path>
              </a:pathLst>
            </a:custGeom>
            <a:solidFill>
              <a:srgbClr val="CDDB00"/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  <p:sp>
          <p:nvSpPr>
            <p:cNvPr id="41" name="Free-form: Shape 40">
              <a:extLst>
                <a:ext uri="{FF2B5EF4-FFF2-40B4-BE49-F238E27FC236}">
                  <a16:creationId xmlns:a16="http://schemas.microsoft.com/office/drawing/2014/main" id="{1AB8811A-2AF9-3D1A-7290-BC7B6EA26CFE}"/>
                </a:ext>
              </a:extLst>
            </p:cNvPr>
            <p:cNvSpPr/>
            <p:nvPr userDrawn="1"/>
          </p:nvSpPr>
          <p:spPr>
            <a:xfrm>
              <a:off x="8291703" y="1"/>
              <a:ext cx="639222" cy="600837"/>
            </a:xfrm>
            <a:custGeom>
              <a:avLst/>
              <a:gdLst>
                <a:gd name="connsiteX0" fmla="*/ 852297 w 852296"/>
                <a:gd name="connsiteY0" fmla="*/ 600837 h 600837"/>
                <a:gd name="connsiteX1" fmla="*/ 568198 w 852296"/>
                <a:gd name="connsiteY1" fmla="*/ 0 h 600837"/>
                <a:gd name="connsiteX2" fmla="*/ 0 w 852296"/>
                <a:gd name="connsiteY2" fmla="*/ 0 h 600837"/>
                <a:gd name="connsiteX3" fmla="*/ 284099 w 852296"/>
                <a:gd name="connsiteY3" fmla="*/ 600837 h 600837"/>
                <a:gd name="connsiteX4" fmla="*/ 852297 w 852296"/>
                <a:gd name="connsiteY4" fmla="*/ 600837 h 6008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2296" h="600837">
                  <a:moveTo>
                    <a:pt x="852297" y="600837"/>
                  </a:moveTo>
                  <a:lnTo>
                    <a:pt x="568198" y="0"/>
                  </a:lnTo>
                  <a:lnTo>
                    <a:pt x="0" y="0"/>
                  </a:lnTo>
                  <a:cubicBezTo>
                    <a:pt x="0" y="0"/>
                    <a:pt x="284099" y="600837"/>
                    <a:pt x="284099" y="600837"/>
                  </a:cubicBezTo>
                  <a:lnTo>
                    <a:pt x="852297" y="600837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  <p:sp>
          <p:nvSpPr>
            <p:cNvPr id="42" name="Free-form: Shape 41">
              <a:extLst>
                <a:ext uri="{FF2B5EF4-FFF2-40B4-BE49-F238E27FC236}">
                  <a16:creationId xmlns:a16="http://schemas.microsoft.com/office/drawing/2014/main" id="{F88C237B-3642-81D4-58BC-F75C75257471}"/>
                </a:ext>
              </a:extLst>
            </p:cNvPr>
            <p:cNvSpPr/>
            <p:nvPr userDrawn="1"/>
          </p:nvSpPr>
          <p:spPr>
            <a:xfrm>
              <a:off x="8029908" y="600837"/>
              <a:ext cx="712232" cy="669162"/>
            </a:xfrm>
            <a:custGeom>
              <a:avLst/>
              <a:gdLst>
                <a:gd name="connsiteX0" fmla="*/ 0 w 949642"/>
                <a:gd name="connsiteY0" fmla="*/ 0 h 669162"/>
                <a:gd name="connsiteX1" fmla="*/ 316548 w 949642"/>
                <a:gd name="connsiteY1" fmla="*/ 669163 h 669162"/>
                <a:gd name="connsiteX2" fmla="*/ 949643 w 949642"/>
                <a:gd name="connsiteY2" fmla="*/ 669163 h 669162"/>
                <a:gd name="connsiteX3" fmla="*/ 633095 w 949642"/>
                <a:gd name="connsiteY3" fmla="*/ 0 h 669162"/>
                <a:gd name="connsiteX4" fmla="*/ 0 w 949642"/>
                <a:gd name="connsiteY4" fmla="*/ 0 h 6691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49642" h="669162">
                  <a:moveTo>
                    <a:pt x="0" y="0"/>
                  </a:moveTo>
                  <a:lnTo>
                    <a:pt x="316548" y="669163"/>
                  </a:lnTo>
                  <a:lnTo>
                    <a:pt x="949643" y="669163"/>
                  </a:lnTo>
                  <a:cubicBezTo>
                    <a:pt x="949643" y="669163"/>
                    <a:pt x="633095" y="0"/>
                    <a:pt x="63309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>
                <a:alpha val="50000"/>
              </a:srgbClr>
            </a:solidFill>
            <a:ln w="635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AU" sz="1984"/>
            </a:p>
          </p:txBody>
        </p:sp>
      </p:grp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509982" y="7004053"/>
            <a:ext cx="2266302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02">
                <a:solidFill>
                  <a:schemeClr val="accent6"/>
                </a:solidFill>
              </a:defRPr>
            </a:lvl1pPr>
          </a:lstStyle>
          <a:p>
            <a:fld id="{973D4877-A18C-4E62-9946-F942ED83388C}" type="datetime1">
              <a:rPr lang="en-GB" smtClean="0"/>
              <a:pPr/>
              <a:t>31/07/2023</a:t>
            </a:fld>
            <a:endParaRPr lang="en-GB" dirty="0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68002" y="423804"/>
            <a:ext cx="7576875" cy="793667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68000" y="2012413"/>
            <a:ext cx="9429000" cy="436516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568001" y="7004053"/>
            <a:ext cx="5240004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To add a Footer, select 'Insert &gt; Header &amp; Footer'</a:t>
            </a:r>
            <a:endParaRPr lang="en-GB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750219" y="7004053"/>
            <a:ext cx="631406" cy="39683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2">
                <a:solidFill>
                  <a:schemeClr val="accent6"/>
                </a:solidFill>
              </a:defRPr>
            </a:lvl1pPr>
          </a:lstStyle>
          <a:p>
            <a:r>
              <a:rPr lang="en-GB"/>
              <a:t>Page </a:t>
            </a:r>
            <a:fld id="{F5AEA0E0-5CC6-4BD0-905C-A0021E419432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7" name="MSIPCMContentMarking" descr="{&quot;HashCode&quot;:-1264680268,&quot;Placement&quot;:&quot;Footer&quot;,&quot;Top&quot;:516.65155,&quot;Left&quot;:326.046448,&quot;SlideWidth&quot;:720,&quot;SlideHeight&quot;:540}">
            <a:extLst>
              <a:ext uri="{FF2B5EF4-FFF2-40B4-BE49-F238E27FC236}">
                <a16:creationId xmlns:a16="http://schemas.microsoft.com/office/drawing/2014/main" id="{C1CB3AF3-4B80-E700-28DB-DCCFCACEA543}"/>
              </a:ext>
            </a:extLst>
          </p:cNvPr>
          <p:cNvSpPr txBox="1"/>
          <p:nvPr userDrawn="1"/>
        </p:nvSpPr>
        <p:spPr>
          <a:xfrm>
            <a:off x="4841706" y="7294451"/>
            <a:ext cx="1008401" cy="20358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AU" sz="1323">
                <a:solidFill>
                  <a:srgbClr val="000000"/>
                </a:solidFill>
                <a:latin typeface="Calibri" panose="020F0502020204030204" pitchFamily="34" charset="0"/>
              </a:rPr>
              <a:t>OFFICIAL</a:t>
            </a:r>
          </a:p>
        </p:txBody>
      </p:sp>
    </p:spTree>
    <p:extLst>
      <p:ext uri="{BB962C8B-B14F-4D97-AF65-F5344CB8AC3E}">
        <p14:creationId xmlns:p14="http://schemas.microsoft.com/office/powerpoint/2010/main" val="39839215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</p:sldLayoutIdLst>
  <p:hf hdr="0" dt="0"/>
  <p:txStyles>
    <p:titleStyle>
      <a:lvl1pPr algn="l" defTabSz="1007943" rtl="0" eaLnBrk="1" latinLnBrk="0" hangingPunct="1">
        <a:lnSpc>
          <a:spcPct val="100000"/>
        </a:lnSpc>
        <a:spcBef>
          <a:spcPct val="0"/>
        </a:spcBef>
        <a:buNone/>
        <a:defRPr sz="2535" kern="1200">
          <a:solidFill>
            <a:schemeClr val="accent6"/>
          </a:solidFill>
          <a:latin typeface="+mj-lt"/>
          <a:ea typeface="+mj-ea"/>
          <a:cs typeface="+mj-cs"/>
        </a:defRPr>
      </a:lvl1pPr>
    </p:titleStyle>
    <p:bodyStyle>
      <a:lvl1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b="1" kern="1200">
          <a:solidFill>
            <a:schemeClr val="accent6"/>
          </a:solidFill>
          <a:latin typeface="+mn-lt"/>
          <a:ea typeface="+mn-ea"/>
          <a:cs typeface="+mn-cs"/>
        </a:defRPr>
      </a:lvl1pPr>
      <a:lvl2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accent6"/>
          </a:solidFill>
          <a:latin typeface="+mn-lt"/>
          <a:ea typeface="+mn-ea"/>
          <a:cs typeface="+mn-cs"/>
        </a:defRPr>
      </a:lvl2pPr>
      <a:lvl3pPr marL="198414" indent="-198414" algn="l" defTabSz="1007943" rtl="0" eaLnBrk="1" latinLnBrk="0" hangingPunct="1">
        <a:lnSpc>
          <a:spcPct val="100000"/>
        </a:lnSpc>
        <a:spcBef>
          <a:spcPts val="661"/>
        </a:spcBef>
        <a:buClr>
          <a:schemeClr val="accent3"/>
        </a:buClr>
        <a:buFont typeface="Arial" panose="020B0604020202020204" pitchFamily="34" charset="0"/>
        <a:buChar char="•"/>
        <a:defRPr sz="1984" kern="1200">
          <a:solidFill>
            <a:schemeClr val="accent6"/>
          </a:solidFill>
          <a:latin typeface="+mn-lt"/>
          <a:ea typeface="+mn-ea"/>
          <a:cs typeface="+mn-cs"/>
        </a:defRPr>
      </a:lvl3pPr>
      <a:lvl4pPr marL="396828" indent="-198414" algn="l" defTabSz="1007943" rtl="0" eaLnBrk="1" latinLnBrk="0" hangingPunct="1">
        <a:lnSpc>
          <a:spcPct val="100000"/>
        </a:lnSpc>
        <a:spcBef>
          <a:spcPts val="1323"/>
        </a:spcBef>
        <a:spcAft>
          <a:spcPts val="1323"/>
        </a:spcAft>
        <a:buClr>
          <a:schemeClr val="accent2"/>
        </a:buClr>
        <a:buFont typeface="Arial" panose="020B0604020202020204" pitchFamily="34" charset="0"/>
        <a:buChar char="•"/>
        <a:defRPr sz="1984" b="0" i="0" kern="1200">
          <a:solidFill>
            <a:schemeClr val="accent6"/>
          </a:solidFill>
          <a:latin typeface="+mn-lt"/>
          <a:ea typeface="+mn-ea"/>
          <a:cs typeface="+mn-cs"/>
        </a:defRPr>
      </a:lvl4pPr>
      <a:lvl5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543" b="1" kern="1200">
          <a:solidFill>
            <a:schemeClr val="accent6"/>
          </a:solidFill>
          <a:latin typeface="+mn-lt"/>
          <a:ea typeface="+mn-ea"/>
          <a:cs typeface="+mn-cs"/>
        </a:defRPr>
      </a:lvl5pPr>
      <a:lvl6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543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0" indent="0" algn="l" defTabSz="1007943" rtl="0" eaLnBrk="1" latinLnBrk="0" hangingPunct="1">
        <a:lnSpc>
          <a:spcPct val="100000"/>
        </a:lnSpc>
        <a:spcBef>
          <a:spcPts val="661"/>
        </a:spcBef>
        <a:buFont typeface="Arial" panose="020B0604020202020204" pitchFamily="34" charset="0"/>
        <a:buNone/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1pPr>
      <a:lvl2pPr marL="5039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2pPr>
      <a:lvl3pPr marL="1007943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3pPr>
      <a:lvl4pPr marL="1511915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4pPr>
      <a:lvl5pPr marL="2015886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5pPr>
      <a:lvl6pPr marL="2519858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6pPr>
      <a:lvl7pPr marL="3023829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7pPr>
      <a:lvl8pPr marL="3527801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8pPr>
      <a:lvl9pPr marL="4031772" algn="l" defTabSz="1007943" rtl="0" eaLnBrk="1" latinLnBrk="0" hangingPunct="1">
        <a:defRPr sz="198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996997C0-ABCC-BBF3-12AD-0C7AC342FC6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99015868"/>
              </p:ext>
            </p:extLst>
          </p:nvPr>
        </p:nvGraphicFramePr>
        <p:xfrm>
          <a:off x="307873" y="1750"/>
          <a:ext cx="1750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28" imgH="328" progId="TCLayout.ActiveDocument.1">
                  <p:embed/>
                </p:oleObj>
              </mc:Choice>
              <mc:Fallback>
                <p:oleObj name="think-cell Slide" r:id="rId3" imgW="328" imgH="328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996997C0-ABCC-BBF3-12AD-0C7AC342FC67}"/>
                          </a:ext>
                          <a:ext uri="{C183D7F6-B498-43B3-948B-1728B52AA6E4}">
                            <adec:decorative xmlns:adec="http://schemas.microsoft.com/office/drawing/2017/decorative" val="1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307873" y="1750"/>
                        <a:ext cx="1750" cy="1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2C23A05B-338A-E882-D37C-C09A4BEA8C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AU" dirty="0">
                <a:latin typeface="+mn-lt"/>
              </a:rPr>
              <a:t>Internal referral process flow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4C137A72-DBB2-D106-DA91-4ECED7EEF0DA}"/>
              </a:ext>
            </a:extLst>
          </p:cNvPr>
          <p:cNvSpPr/>
          <p:nvPr/>
        </p:nvSpPr>
        <p:spPr>
          <a:xfrm>
            <a:off x="760886" y="1735613"/>
            <a:ext cx="1699034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cs typeface="Segoe UI Semibold" panose="020B0702040204020203" pitchFamily="34" charset="0"/>
              </a:rPr>
              <a:t>1. </a:t>
            </a: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Application assessment (within 28 days)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F26F24E-BE49-04A0-D6B9-21213D8B6BFD}"/>
              </a:ext>
            </a:extLst>
          </p:cNvPr>
          <p:cNvSpPr/>
          <p:nvPr/>
        </p:nvSpPr>
        <p:spPr>
          <a:xfrm>
            <a:off x="749522" y="2623823"/>
            <a:ext cx="1686839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b="1" dirty="0">
                <a:solidFill>
                  <a:schemeClr val="accent6"/>
                </a:solidFill>
                <a:cs typeface="Segoe UI Semilight" panose="020B0402040204020203" pitchFamily="34" charset="0"/>
              </a:rPr>
              <a:t>1a. Planner 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assesses application for more information required, and informally seeks advice from relevant internal departments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ABB8DE6-9822-4DB3-3E3D-023E08DCA47F}"/>
              </a:ext>
            </a:extLst>
          </p:cNvPr>
          <p:cNvSpPr/>
          <p:nvPr/>
        </p:nvSpPr>
        <p:spPr>
          <a:xfrm>
            <a:off x="2542730" y="2623823"/>
            <a:ext cx="1540972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b="1" dirty="0">
                <a:solidFill>
                  <a:schemeClr val="accent6"/>
                </a:solidFill>
                <a:cs typeface="Segoe UI Semilight" panose="020B0402040204020203" pitchFamily="34" charset="0"/>
              </a:rPr>
              <a:t>1b. Internal departments 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provide comments on further information required from applicant to assess the application.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CE3FAA23-46E4-E4E5-1D30-856E585107CA}"/>
              </a:ext>
            </a:extLst>
          </p:cNvPr>
          <p:cNvSpPr/>
          <p:nvPr/>
        </p:nvSpPr>
        <p:spPr>
          <a:xfrm>
            <a:off x="4305027" y="2623700"/>
            <a:ext cx="1251521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b="1" dirty="0">
                <a:solidFill>
                  <a:schemeClr val="accent6"/>
                </a:solidFill>
                <a:cs typeface="Segoe UI Semilight" panose="020B0402040204020203" pitchFamily="34" charset="0"/>
              </a:rPr>
              <a:t>1c. 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If relevant, </a:t>
            </a:r>
            <a:r>
              <a:rPr lang="en-AU" sz="1000" b="1" dirty="0">
                <a:solidFill>
                  <a:schemeClr val="accent6"/>
                </a:solidFill>
                <a:cs typeface="Segoe UI Semilight" panose="020B0402040204020203" pitchFamily="34" charset="0"/>
              </a:rPr>
              <a:t>planner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 requests further information from applicant.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282C9F9E-E1AC-A6C9-B401-4D569E04E16F}"/>
              </a:ext>
            </a:extLst>
          </p:cNvPr>
          <p:cNvSpPr/>
          <p:nvPr/>
        </p:nvSpPr>
        <p:spPr>
          <a:xfrm>
            <a:off x="5835049" y="1735613"/>
            <a:ext cx="1471364" cy="359222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2. Referral preparation </a:t>
            </a:r>
            <a:b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</a:b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(up to 7 days)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D0CDBFEF-D4D8-DE91-4888-2FB2F7BA9552}"/>
              </a:ext>
            </a:extLst>
          </p:cNvPr>
          <p:cNvSpPr/>
          <p:nvPr/>
        </p:nvSpPr>
        <p:spPr>
          <a:xfrm>
            <a:off x="5721303" y="2623823"/>
            <a:ext cx="1703912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2. </a:t>
            </a:r>
            <a:r>
              <a:rPr lang="en-AU" sz="1000" b="1" dirty="0">
                <a:solidFill>
                  <a:schemeClr val="accent6"/>
                </a:solidFill>
                <a:cs typeface="Segoe UI Semilight" panose="020B0402040204020203" pitchFamily="34" charset="0"/>
              </a:rPr>
              <a:t>Planne</a:t>
            </a:r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r assesses whether the application requires formal referral, and if so prepares referral.</a:t>
            </a:r>
          </a:p>
          <a:p>
            <a:pPr algn="ctr"/>
            <a:endParaRPr lang="en-AU" sz="1000" dirty="0">
              <a:solidFill>
                <a:schemeClr val="accent6"/>
              </a:solidFill>
              <a:cs typeface="Segoe UI Semilight" panose="020B0402040204020203" pitchFamily="34" charset="0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2B1E71E8-3428-2A8D-7FBC-AD4D16926D12}"/>
              </a:ext>
            </a:extLst>
          </p:cNvPr>
          <p:cNvSpPr/>
          <p:nvPr/>
        </p:nvSpPr>
        <p:spPr>
          <a:xfrm>
            <a:off x="5314546" y="3418517"/>
            <a:ext cx="1991867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3. Referral receipt, assessment &amp; advice compilation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96399B3-4295-75A4-9C7D-940C2C0C393A}"/>
              </a:ext>
            </a:extLst>
          </p:cNvPr>
          <p:cNvSpPr/>
          <p:nvPr/>
        </p:nvSpPr>
        <p:spPr>
          <a:xfrm>
            <a:off x="5495950" y="4358430"/>
            <a:ext cx="1633329" cy="545894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3a. Internal referral department receives notification of the request for advice, and allocates to referee who adds it to their workflow.</a:t>
            </a:r>
          </a:p>
          <a:p>
            <a:pPr algn="ctr"/>
            <a:endParaRPr lang="en-AU" sz="1000" dirty="0">
              <a:solidFill>
                <a:schemeClr val="accent6"/>
              </a:solidFill>
              <a:cs typeface="Segoe UI Semilight" panose="020B0402040204020203" pitchFamily="34" charset="0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7A37DB-F5F9-506B-C7A8-0EDEB3BCA8FF}"/>
              </a:ext>
            </a:extLst>
          </p:cNvPr>
          <p:cNvSpPr/>
          <p:nvPr/>
        </p:nvSpPr>
        <p:spPr>
          <a:xfrm>
            <a:off x="3586600" y="4358517"/>
            <a:ext cx="1727946" cy="561637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3b. Internal referee reviews application and relevant information, completes referral with written response and submits advice to planning team.</a:t>
            </a:r>
          </a:p>
          <a:p>
            <a:pPr algn="ctr"/>
            <a:endParaRPr lang="en-AU" sz="1000" dirty="0">
              <a:solidFill>
                <a:schemeClr val="accent6"/>
              </a:solidFill>
              <a:cs typeface="Segoe UI Semilight" panose="020B0402040204020203" pitchFamily="34" charset="0"/>
            </a:endParaRPr>
          </a:p>
        </p:txBody>
      </p:sp>
      <p:sp>
        <p:nvSpPr>
          <p:cNvPr id="162" name="Rectangle 161">
            <a:extLst>
              <a:ext uri="{FF2B5EF4-FFF2-40B4-BE49-F238E27FC236}">
                <a16:creationId xmlns:a16="http://schemas.microsoft.com/office/drawing/2014/main" id="{1C8CFC5A-89DB-2B91-4137-97625E652B03}"/>
              </a:ext>
            </a:extLst>
          </p:cNvPr>
          <p:cNvSpPr/>
          <p:nvPr/>
        </p:nvSpPr>
        <p:spPr>
          <a:xfrm>
            <a:off x="1727743" y="3306319"/>
            <a:ext cx="1513888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b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4. Advice implemented</a:t>
            </a: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D30EA624-C1AC-9A15-61AA-4CA9867071C3}"/>
              </a:ext>
            </a:extLst>
          </p:cNvPr>
          <p:cNvSpPr/>
          <p:nvPr/>
        </p:nvSpPr>
        <p:spPr>
          <a:xfrm>
            <a:off x="1477684" y="4313253"/>
            <a:ext cx="1887742" cy="751886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rtlCol="0" anchor="t"/>
          <a:lstStyle/>
          <a:p>
            <a:pPr algn="ctr"/>
            <a:r>
              <a:rPr lang="en-AU" sz="1000" dirty="0">
                <a:solidFill>
                  <a:schemeClr val="accent6"/>
                </a:solidFill>
                <a:cs typeface="Segoe UI Semilight" panose="020B0402040204020203" pitchFamily="34" charset="0"/>
              </a:rPr>
              <a:t>4. Planner receives advice, reviews and decides if re-referral is required, or incorporates the advice into application assessment and responds to the applicant with next steps.</a:t>
            </a:r>
          </a:p>
          <a:p>
            <a:pPr algn="ctr"/>
            <a:endParaRPr lang="en-AU" sz="1000" dirty="0">
              <a:solidFill>
                <a:schemeClr val="accent6"/>
              </a:solidFill>
              <a:cs typeface="Segoe UI Semilight" panose="020B0402040204020203" pitchFamily="34" charset="0"/>
            </a:endParaRPr>
          </a:p>
        </p:txBody>
      </p:sp>
      <p:sp>
        <p:nvSpPr>
          <p:cNvPr id="169" name="Rectangle 168">
            <a:extLst>
              <a:ext uri="{FF2B5EF4-FFF2-40B4-BE49-F238E27FC236}">
                <a16:creationId xmlns:a16="http://schemas.microsoft.com/office/drawing/2014/main" id="{1D4042DD-152A-DB07-AC82-459E0FDE3DE2}"/>
              </a:ext>
            </a:extLst>
          </p:cNvPr>
          <p:cNvSpPr/>
          <p:nvPr/>
        </p:nvSpPr>
        <p:spPr>
          <a:xfrm>
            <a:off x="851415" y="6317112"/>
            <a:ext cx="1513888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t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5. </a:t>
            </a:r>
            <a:b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</a:b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(Additional RFI/s)</a:t>
            </a:r>
          </a:p>
        </p:txBody>
      </p:sp>
      <p:sp>
        <p:nvSpPr>
          <p:cNvPr id="170" name="Rectangle 169">
            <a:extLst>
              <a:ext uri="{FF2B5EF4-FFF2-40B4-BE49-F238E27FC236}">
                <a16:creationId xmlns:a16="http://schemas.microsoft.com/office/drawing/2014/main" id="{B933377D-2B0A-579C-E374-6BEC25E20E90}"/>
              </a:ext>
            </a:extLst>
          </p:cNvPr>
          <p:cNvSpPr/>
          <p:nvPr/>
        </p:nvSpPr>
        <p:spPr>
          <a:xfrm>
            <a:off x="2499869" y="6317112"/>
            <a:ext cx="1513888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t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6. </a:t>
            </a:r>
            <a:b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</a:b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Advertising</a:t>
            </a:r>
          </a:p>
        </p:txBody>
      </p:sp>
      <p:sp>
        <p:nvSpPr>
          <p:cNvPr id="171" name="Rectangle 170">
            <a:extLst>
              <a:ext uri="{FF2B5EF4-FFF2-40B4-BE49-F238E27FC236}">
                <a16:creationId xmlns:a16="http://schemas.microsoft.com/office/drawing/2014/main" id="{EF4CAD41-5650-B9D6-C934-F9DE1A47DF6D}"/>
              </a:ext>
            </a:extLst>
          </p:cNvPr>
          <p:cNvSpPr/>
          <p:nvPr/>
        </p:nvSpPr>
        <p:spPr>
          <a:xfrm>
            <a:off x="4021107" y="6317112"/>
            <a:ext cx="1513888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t"/>
          <a:lstStyle/>
          <a:p>
            <a:pPr algn="ctr"/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7. </a:t>
            </a:r>
            <a:b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</a:b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Review objections and assess application</a:t>
            </a:r>
          </a:p>
        </p:txBody>
      </p:sp>
      <p:sp>
        <p:nvSpPr>
          <p:cNvPr id="172" name="Rectangle 171">
            <a:extLst>
              <a:ext uri="{FF2B5EF4-FFF2-40B4-BE49-F238E27FC236}">
                <a16:creationId xmlns:a16="http://schemas.microsoft.com/office/drawing/2014/main" id="{0B44F228-D1E5-F45E-4DE6-64ED23B301BC}"/>
              </a:ext>
            </a:extLst>
          </p:cNvPr>
          <p:cNvSpPr/>
          <p:nvPr/>
        </p:nvSpPr>
        <p:spPr>
          <a:xfrm>
            <a:off x="5806779" y="6317112"/>
            <a:ext cx="1513888" cy="359222"/>
          </a:xfrm>
          <a:prstGeom prst="rect">
            <a:avLst/>
          </a:prstGeom>
          <a:noFill/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bIns="0" rtlCol="0" anchor="t"/>
          <a:lstStyle/>
          <a:p>
            <a:pPr algn="ctr"/>
            <a:r>
              <a:rPr lang="en-AU" sz="1000" b="1" dirty="0">
                <a:solidFill>
                  <a:srgbClr val="017D7D"/>
                </a:solidFill>
                <a:cs typeface="Segoe UI Semibold" panose="020B0702040204020203" pitchFamily="34" charset="0"/>
              </a:rPr>
              <a:t>8</a:t>
            </a: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. </a:t>
            </a:r>
            <a:b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</a:br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Final assessment</a:t>
            </a:r>
          </a:p>
        </p:txBody>
      </p:sp>
      <p:sp>
        <p:nvSpPr>
          <p:cNvPr id="4" name="Rectangle: Rounded Corners 90">
            <a:extLst>
              <a:ext uri="{FF2B5EF4-FFF2-40B4-BE49-F238E27FC236}">
                <a16:creationId xmlns:a16="http://schemas.microsoft.com/office/drawing/2014/main" id="{378023CB-1BCB-2983-B85F-48614D8FF0B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592942" y="2337627"/>
            <a:ext cx="6650788" cy="1739028"/>
          </a:xfrm>
          <a:custGeom>
            <a:avLst/>
            <a:gdLst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0 w 9361485"/>
              <a:gd name="connsiteY7" fmla="*/ 105262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91440 w 9361485"/>
              <a:gd name="connsiteY7" fmla="*/ 114406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0 w 8308862"/>
              <a:gd name="connsiteY5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0 w 8308862"/>
              <a:gd name="connsiteY5" fmla="*/ 2101402 h 210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308862" h="2105246">
                <a:moveTo>
                  <a:pt x="0" y="0"/>
                </a:moveTo>
                <a:lnTo>
                  <a:pt x="7256239" y="0"/>
                </a:lnTo>
                <a:cubicBezTo>
                  <a:pt x="7837587" y="0"/>
                  <a:pt x="8308862" y="471275"/>
                  <a:pt x="8308862" y="1052623"/>
                </a:cubicBezTo>
                <a:lnTo>
                  <a:pt x="8308862" y="1052623"/>
                </a:lnTo>
                <a:cubicBezTo>
                  <a:pt x="8308862" y="1633971"/>
                  <a:pt x="7837587" y="2105246"/>
                  <a:pt x="7256239" y="2105246"/>
                </a:cubicBezTo>
                <a:lnTo>
                  <a:pt x="0" y="2101402"/>
                </a:lnTo>
              </a:path>
            </a:pathLst>
          </a:custGeom>
          <a:solidFill>
            <a:srgbClr val="FFFFFF">
              <a:alpha val="0"/>
            </a:srgbClr>
          </a:solidFill>
          <a:ln w="1936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6" name="Rectangle: Rounded Corners 90">
            <a:extLst>
              <a:ext uri="{FF2B5EF4-FFF2-40B4-BE49-F238E27FC236}">
                <a16:creationId xmlns:a16="http://schemas.microsoft.com/office/drawing/2014/main" id="{FDD8D4B6-22A1-F171-8AA3-B7C4DEB4EB3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flipH="1">
            <a:off x="374027" y="4072661"/>
            <a:ext cx="6397309" cy="2026374"/>
          </a:xfrm>
          <a:custGeom>
            <a:avLst/>
            <a:gdLst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0 w 9361485"/>
              <a:gd name="connsiteY7" fmla="*/ 105262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7" fmla="*/ 91440 w 9361485"/>
              <a:gd name="connsiteY7" fmla="*/ 1144063 h 2105246"/>
              <a:gd name="connsiteX0" fmla="*/ 0 w 9361485"/>
              <a:gd name="connsiteY0" fmla="*/ 1052623 h 2105246"/>
              <a:gd name="connsiteX1" fmla="*/ 1052623 w 9361485"/>
              <a:gd name="connsiteY1" fmla="*/ 0 h 2105246"/>
              <a:gd name="connsiteX2" fmla="*/ 8308862 w 9361485"/>
              <a:gd name="connsiteY2" fmla="*/ 0 h 2105246"/>
              <a:gd name="connsiteX3" fmla="*/ 9361485 w 9361485"/>
              <a:gd name="connsiteY3" fmla="*/ 1052623 h 2105246"/>
              <a:gd name="connsiteX4" fmla="*/ 9361485 w 9361485"/>
              <a:gd name="connsiteY4" fmla="*/ 1052623 h 2105246"/>
              <a:gd name="connsiteX5" fmla="*/ 8308862 w 9361485"/>
              <a:gd name="connsiteY5" fmla="*/ 2105246 h 2105246"/>
              <a:gd name="connsiteX6" fmla="*/ 1052623 w 9361485"/>
              <a:gd name="connsiteY6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0 w 8308862"/>
              <a:gd name="connsiteY5" fmla="*/ 2105246 h 2105246"/>
              <a:gd name="connsiteX0" fmla="*/ 786361 w 9095223"/>
              <a:gd name="connsiteY0" fmla="*/ 0 h 2105246"/>
              <a:gd name="connsiteX1" fmla="*/ 8042600 w 9095223"/>
              <a:gd name="connsiteY1" fmla="*/ 0 h 2105246"/>
              <a:gd name="connsiteX2" fmla="*/ 9095223 w 9095223"/>
              <a:gd name="connsiteY2" fmla="*/ 1052623 h 2105246"/>
              <a:gd name="connsiteX3" fmla="*/ 9095223 w 9095223"/>
              <a:gd name="connsiteY3" fmla="*/ 1052623 h 2105246"/>
              <a:gd name="connsiteX4" fmla="*/ 8042600 w 9095223"/>
              <a:gd name="connsiteY4" fmla="*/ 2105246 h 2105246"/>
              <a:gd name="connsiteX5" fmla="*/ 0 w 9095223"/>
              <a:gd name="connsiteY5" fmla="*/ 2105246 h 2105246"/>
              <a:gd name="connsiteX0" fmla="*/ 1192307 w 9501169"/>
              <a:gd name="connsiteY0" fmla="*/ 0 h 2105246"/>
              <a:gd name="connsiteX1" fmla="*/ 8448546 w 9501169"/>
              <a:gd name="connsiteY1" fmla="*/ 0 h 2105246"/>
              <a:gd name="connsiteX2" fmla="*/ 9501169 w 9501169"/>
              <a:gd name="connsiteY2" fmla="*/ 1052623 h 2105246"/>
              <a:gd name="connsiteX3" fmla="*/ 9501169 w 9501169"/>
              <a:gd name="connsiteY3" fmla="*/ 1052623 h 2105246"/>
              <a:gd name="connsiteX4" fmla="*/ 8448546 w 9501169"/>
              <a:gd name="connsiteY4" fmla="*/ 2105246 h 2105246"/>
              <a:gd name="connsiteX5" fmla="*/ 0 w 9501169"/>
              <a:gd name="connsiteY5" fmla="*/ 2105246 h 2105246"/>
              <a:gd name="connsiteX0" fmla="*/ 870614 w 9179476"/>
              <a:gd name="connsiteY0" fmla="*/ 0 h 2105246"/>
              <a:gd name="connsiteX1" fmla="*/ 8126853 w 9179476"/>
              <a:gd name="connsiteY1" fmla="*/ 0 h 2105246"/>
              <a:gd name="connsiteX2" fmla="*/ 9179476 w 9179476"/>
              <a:gd name="connsiteY2" fmla="*/ 1052623 h 2105246"/>
              <a:gd name="connsiteX3" fmla="*/ 9179476 w 9179476"/>
              <a:gd name="connsiteY3" fmla="*/ 1052623 h 2105246"/>
              <a:gd name="connsiteX4" fmla="*/ 8126853 w 9179476"/>
              <a:gd name="connsiteY4" fmla="*/ 2105246 h 2105246"/>
              <a:gd name="connsiteX5" fmla="*/ 0 w 9179476"/>
              <a:gd name="connsiteY5" fmla="*/ 2105246 h 2105246"/>
              <a:gd name="connsiteX0" fmla="*/ 0 w 8308862"/>
              <a:gd name="connsiteY0" fmla="*/ 0 h 2105246"/>
              <a:gd name="connsiteX1" fmla="*/ 7256239 w 8308862"/>
              <a:gd name="connsiteY1" fmla="*/ 0 h 2105246"/>
              <a:gd name="connsiteX2" fmla="*/ 8308862 w 8308862"/>
              <a:gd name="connsiteY2" fmla="*/ 1052623 h 2105246"/>
              <a:gd name="connsiteX3" fmla="*/ 8308862 w 8308862"/>
              <a:gd name="connsiteY3" fmla="*/ 1052623 h 2105246"/>
              <a:gd name="connsiteX4" fmla="*/ 7256239 w 8308862"/>
              <a:gd name="connsiteY4" fmla="*/ 2105246 h 2105246"/>
              <a:gd name="connsiteX5" fmla="*/ 20827 w 8308862"/>
              <a:gd name="connsiteY5" fmla="*/ 2105246 h 2105246"/>
              <a:gd name="connsiteX0" fmla="*/ 1255048 w 8288035"/>
              <a:gd name="connsiteY0" fmla="*/ 0 h 2105246"/>
              <a:gd name="connsiteX1" fmla="*/ 7235412 w 8288035"/>
              <a:gd name="connsiteY1" fmla="*/ 0 h 2105246"/>
              <a:gd name="connsiteX2" fmla="*/ 8288035 w 8288035"/>
              <a:gd name="connsiteY2" fmla="*/ 1052623 h 2105246"/>
              <a:gd name="connsiteX3" fmla="*/ 8288035 w 8288035"/>
              <a:gd name="connsiteY3" fmla="*/ 1052623 h 2105246"/>
              <a:gd name="connsiteX4" fmla="*/ 7235412 w 8288035"/>
              <a:gd name="connsiteY4" fmla="*/ 2105246 h 2105246"/>
              <a:gd name="connsiteX5" fmla="*/ 0 w 8288035"/>
              <a:gd name="connsiteY5" fmla="*/ 2105246 h 2105246"/>
              <a:gd name="connsiteX0" fmla="*/ 1271763 w 8288035"/>
              <a:gd name="connsiteY0" fmla="*/ 0 h 2105246"/>
              <a:gd name="connsiteX1" fmla="*/ 7235412 w 8288035"/>
              <a:gd name="connsiteY1" fmla="*/ 0 h 2105246"/>
              <a:gd name="connsiteX2" fmla="*/ 8288035 w 8288035"/>
              <a:gd name="connsiteY2" fmla="*/ 1052623 h 2105246"/>
              <a:gd name="connsiteX3" fmla="*/ 8288035 w 8288035"/>
              <a:gd name="connsiteY3" fmla="*/ 1052623 h 2105246"/>
              <a:gd name="connsiteX4" fmla="*/ 7235412 w 8288035"/>
              <a:gd name="connsiteY4" fmla="*/ 2105246 h 2105246"/>
              <a:gd name="connsiteX5" fmla="*/ 0 w 8288035"/>
              <a:gd name="connsiteY5" fmla="*/ 2105246 h 2105246"/>
              <a:gd name="connsiteX0" fmla="*/ 62746 w 7079018"/>
              <a:gd name="connsiteY0" fmla="*/ 0 h 2105246"/>
              <a:gd name="connsiteX1" fmla="*/ 6026395 w 7079018"/>
              <a:gd name="connsiteY1" fmla="*/ 0 h 2105246"/>
              <a:gd name="connsiteX2" fmla="*/ 7079018 w 7079018"/>
              <a:gd name="connsiteY2" fmla="*/ 1052623 h 2105246"/>
              <a:gd name="connsiteX3" fmla="*/ 7079018 w 7079018"/>
              <a:gd name="connsiteY3" fmla="*/ 1052623 h 2105246"/>
              <a:gd name="connsiteX4" fmla="*/ 6026395 w 7079018"/>
              <a:gd name="connsiteY4" fmla="*/ 2105246 h 2105246"/>
              <a:gd name="connsiteX5" fmla="*/ 0 w 7079018"/>
              <a:gd name="connsiteY5" fmla="*/ 2099968 h 2105246"/>
              <a:gd name="connsiteX0" fmla="*/ 57174 w 7073446"/>
              <a:gd name="connsiteY0" fmla="*/ 0 h 2105246"/>
              <a:gd name="connsiteX1" fmla="*/ 6020823 w 7073446"/>
              <a:gd name="connsiteY1" fmla="*/ 0 h 2105246"/>
              <a:gd name="connsiteX2" fmla="*/ 7073446 w 7073446"/>
              <a:gd name="connsiteY2" fmla="*/ 1052623 h 2105246"/>
              <a:gd name="connsiteX3" fmla="*/ 7073446 w 7073446"/>
              <a:gd name="connsiteY3" fmla="*/ 1052623 h 2105246"/>
              <a:gd name="connsiteX4" fmla="*/ 6020823 w 7073446"/>
              <a:gd name="connsiteY4" fmla="*/ 2105246 h 2105246"/>
              <a:gd name="connsiteX5" fmla="*/ 0 w 7073446"/>
              <a:gd name="connsiteY5" fmla="*/ 2105246 h 2105246"/>
              <a:gd name="connsiteX0" fmla="*/ 0 w 7016272"/>
              <a:gd name="connsiteY0" fmla="*/ 0 h 2105246"/>
              <a:gd name="connsiteX1" fmla="*/ 5963649 w 7016272"/>
              <a:gd name="connsiteY1" fmla="*/ 0 h 2105246"/>
              <a:gd name="connsiteX2" fmla="*/ 7016272 w 7016272"/>
              <a:gd name="connsiteY2" fmla="*/ 1052623 h 2105246"/>
              <a:gd name="connsiteX3" fmla="*/ 7016272 w 7016272"/>
              <a:gd name="connsiteY3" fmla="*/ 1052623 h 2105246"/>
              <a:gd name="connsiteX4" fmla="*/ 5963649 w 7016272"/>
              <a:gd name="connsiteY4" fmla="*/ 2105246 h 2105246"/>
              <a:gd name="connsiteX5" fmla="*/ 277117 w 7016272"/>
              <a:gd name="connsiteY5" fmla="*/ 2105246 h 21052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7016272" h="2105246">
                <a:moveTo>
                  <a:pt x="0" y="0"/>
                </a:moveTo>
                <a:lnTo>
                  <a:pt x="5963649" y="0"/>
                </a:lnTo>
                <a:cubicBezTo>
                  <a:pt x="6544997" y="0"/>
                  <a:pt x="7016272" y="471275"/>
                  <a:pt x="7016272" y="1052623"/>
                </a:cubicBezTo>
                <a:lnTo>
                  <a:pt x="7016272" y="1052623"/>
                </a:lnTo>
                <a:cubicBezTo>
                  <a:pt x="7016272" y="1633971"/>
                  <a:pt x="6544997" y="2105246"/>
                  <a:pt x="5963649" y="2105246"/>
                </a:cubicBezTo>
                <a:lnTo>
                  <a:pt x="277117" y="2105246"/>
                </a:lnTo>
              </a:path>
            </a:pathLst>
          </a:custGeom>
          <a:solidFill>
            <a:srgbClr val="FFFFFF">
              <a:alpha val="0"/>
            </a:srgbClr>
          </a:solidFill>
          <a:ln w="19367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7C9D86DE-5B3C-AF52-3B5C-53B89AA9EF4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78750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endParaRPr lang="en-AU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B82D8D9C-7FC4-7C37-78A5-1CA6F21ED81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95382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984EA5C-7E6A-054B-3553-7E94D490406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696070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FBA66439-70D8-EBAA-091F-4425E014FE1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47723" y="2114491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6BAB3551-5510-CE20-6E34-229C5C5769E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232072" y="3849185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921FD4E9-081E-50FE-20F9-1D7D12E9A62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3040985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8442BA56-896C-7AAD-471E-DC068737248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4597143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90B54A12-5E8E-B012-0754-0F74920B8CE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096615" y="3849185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 dirty="0"/>
          </a:p>
        </p:txBody>
      </p:sp>
      <p:sp>
        <p:nvSpPr>
          <p:cNvPr id="31" name="Oval 30">
            <a:extLst>
              <a:ext uri="{FF2B5EF4-FFF2-40B4-BE49-F238E27FC236}">
                <a16:creationId xmlns:a16="http://schemas.microsoft.com/office/drawing/2014/main" id="{25641265-0981-89DE-CDBD-8308809D182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1383888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33" name="Oval 32">
            <a:extLst>
              <a:ext uri="{FF2B5EF4-FFF2-40B4-BE49-F238E27FC236}">
                <a16:creationId xmlns:a16="http://schemas.microsoft.com/office/drawing/2014/main" id="{9E76B915-65AB-587E-7A42-02481CFE510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2205554" y="3813002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35" name="Rectangle 134">
            <a:extLst>
              <a:ext uri="{FF2B5EF4-FFF2-40B4-BE49-F238E27FC236}">
                <a16:creationId xmlns:a16="http://schemas.microsoft.com/office/drawing/2014/main" id="{5E0B158F-12EA-B07E-CD30-FF2AFE696BE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122721" y="1893261"/>
            <a:ext cx="1195063" cy="1381125"/>
          </a:xfrm>
          <a:prstGeom prst="rect">
            <a:avLst/>
          </a:prstGeom>
          <a:solidFill>
            <a:srgbClr val="FFFFFF">
              <a:alpha val="0"/>
            </a:srgbClr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40" name="Rectangle 139">
            <a:extLst>
              <a:ext uri="{FF2B5EF4-FFF2-40B4-BE49-F238E27FC236}">
                <a16:creationId xmlns:a16="http://schemas.microsoft.com/office/drawing/2014/main" id="{EFD40064-0A73-0A9F-88DB-DD39FF7FAEC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533194" y="1989282"/>
            <a:ext cx="807010" cy="135504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Planner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41" name="Rectangle 140">
            <a:extLst>
              <a:ext uri="{FF2B5EF4-FFF2-40B4-BE49-F238E27FC236}">
                <a16:creationId xmlns:a16="http://schemas.microsoft.com/office/drawing/2014/main" id="{7CA2D851-73DC-B296-BD7B-9D1A297D706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9533194" y="2258524"/>
            <a:ext cx="719644" cy="135504"/>
          </a:xfrm>
          <a:prstGeom prst="rect">
            <a:avLst/>
          </a:prstGeom>
          <a:solidFill>
            <a:srgbClr val="FFFFFF">
              <a:alpha val="0"/>
            </a:srgbClr>
          </a:solidFill>
          <a:ln w="127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r>
              <a:rPr lang="en-AU" sz="1000" b="1" dirty="0">
                <a:solidFill>
                  <a:srgbClr val="017D7D"/>
                </a:solidFill>
                <a:effectLst/>
                <a:cs typeface="Segoe UI Semibold" panose="020B0702040204020203" pitchFamily="34" charset="0"/>
              </a:rPr>
              <a:t>Referee</a:t>
            </a:r>
            <a:endParaRPr lang="en-AU" sz="1000" b="1" dirty="0">
              <a:solidFill>
                <a:srgbClr val="017D7D"/>
              </a:solidFill>
              <a:cs typeface="Segoe UI Semibold" panose="020B0702040204020203" pitchFamily="34" charset="0"/>
            </a:endParaRPr>
          </a:p>
        </p:txBody>
      </p:sp>
      <p:sp>
        <p:nvSpPr>
          <p:cNvPr id="163" name="TextBox 162">
            <a:extLst>
              <a:ext uri="{FF2B5EF4-FFF2-40B4-BE49-F238E27FC236}">
                <a16:creationId xmlns:a16="http://schemas.microsoft.com/office/drawing/2014/main" id="{B4C8255B-6BF9-1A80-3CC5-82B309FBFD7C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 txBox="1"/>
          <p:nvPr/>
        </p:nvSpPr>
        <p:spPr>
          <a:xfrm>
            <a:off x="9098868" y="3502999"/>
            <a:ext cx="1416731" cy="1292662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endParaRPr lang="en-AU" dirty="0">
              <a:highlight>
                <a:srgbClr val="FFFF00"/>
              </a:highlight>
            </a:endParaRPr>
          </a:p>
        </p:txBody>
      </p:sp>
      <p:sp>
        <p:nvSpPr>
          <p:cNvPr id="173" name="Freeform 8">
            <a:extLst>
              <a:ext uri="{FF2B5EF4-FFF2-40B4-BE49-F238E27FC236}">
                <a16:creationId xmlns:a16="http://schemas.microsoft.com/office/drawing/2014/main" id="{31B75973-F1D5-2BF0-17D1-C7E6B6CD7E38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217549" y="1975118"/>
            <a:ext cx="241225" cy="163832"/>
          </a:xfrm>
          <a:custGeom>
            <a:avLst/>
            <a:gdLst>
              <a:gd name="T0" fmla="*/ 170 w 171"/>
              <a:gd name="T1" fmla="*/ 67 h 138"/>
              <a:gd name="T2" fmla="*/ 146 w 171"/>
              <a:gd name="T3" fmla="*/ 43 h 138"/>
              <a:gd name="T4" fmla="*/ 144 w 171"/>
              <a:gd name="T5" fmla="*/ 43 h 138"/>
              <a:gd name="T6" fmla="*/ 141 w 171"/>
              <a:gd name="T7" fmla="*/ 46 h 138"/>
              <a:gd name="T8" fmla="*/ 142 w 171"/>
              <a:gd name="T9" fmla="*/ 48 h 138"/>
              <a:gd name="T10" fmla="*/ 159 w 171"/>
              <a:gd name="T11" fmla="*/ 66 h 138"/>
              <a:gd name="T12" fmla="*/ 62 w 171"/>
              <a:gd name="T13" fmla="*/ 66 h 138"/>
              <a:gd name="T14" fmla="*/ 63 w 171"/>
              <a:gd name="T15" fmla="*/ 65 h 138"/>
              <a:gd name="T16" fmla="*/ 117 w 171"/>
              <a:gd name="T17" fmla="*/ 11 h 138"/>
              <a:gd name="T18" fmla="*/ 117 w 171"/>
              <a:gd name="T19" fmla="*/ 34 h 138"/>
              <a:gd name="T20" fmla="*/ 121 w 171"/>
              <a:gd name="T21" fmla="*/ 37 h 138"/>
              <a:gd name="T22" fmla="*/ 124 w 171"/>
              <a:gd name="T23" fmla="*/ 34 h 138"/>
              <a:gd name="T24" fmla="*/ 124 w 171"/>
              <a:gd name="T25" fmla="*/ 3 h 138"/>
              <a:gd name="T26" fmla="*/ 121 w 171"/>
              <a:gd name="T27" fmla="*/ 0 h 138"/>
              <a:gd name="T28" fmla="*/ 89 w 171"/>
              <a:gd name="T29" fmla="*/ 0 h 138"/>
              <a:gd name="T30" fmla="*/ 86 w 171"/>
              <a:gd name="T31" fmla="*/ 3 h 138"/>
              <a:gd name="T32" fmla="*/ 89 w 171"/>
              <a:gd name="T33" fmla="*/ 6 h 138"/>
              <a:gd name="T34" fmla="*/ 113 w 171"/>
              <a:gd name="T35" fmla="*/ 6 h 138"/>
              <a:gd name="T36" fmla="*/ 53 w 171"/>
              <a:gd name="T37" fmla="*/ 66 h 138"/>
              <a:gd name="T38" fmla="*/ 30 w 171"/>
              <a:gd name="T39" fmla="*/ 66 h 138"/>
              <a:gd name="T40" fmla="*/ 30 w 171"/>
              <a:gd name="T41" fmla="*/ 65 h 138"/>
              <a:gd name="T42" fmla="*/ 15 w 171"/>
              <a:gd name="T43" fmla="*/ 54 h 138"/>
              <a:gd name="T44" fmla="*/ 0 w 171"/>
              <a:gd name="T45" fmla="*/ 69 h 138"/>
              <a:gd name="T46" fmla="*/ 15 w 171"/>
              <a:gd name="T47" fmla="*/ 84 h 138"/>
              <a:gd name="T48" fmla="*/ 30 w 171"/>
              <a:gd name="T49" fmla="*/ 73 h 138"/>
              <a:gd name="T50" fmla="*/ 30 w 171"/>
              <a:gd name="T51" fmla="*/ 72 h 138"/>
              <a:gd name="T52" fmla="*/ 53 w 171"/>
              <a:gd name="T53" fmla="*/ 72 h 138"/>
              <a:gd name="T54" fmla="*/ 53 w 171"/>
              <a:gd name="T55" fmla="*/ 73 h 138"/>
              <a:gd name="T56" fmla="*/ 113 w 171"/>
              <a:gd name="T57" fmla="*/ 132 h 138"/>
              <a:gd name="T58" fmla="*/ 89 w 171"/>
              <a:gd name="T59" fmla="*/ 132 h 138"/>
              <a:gd name="T60" fmla="*/ 86 w 171"/>
              <a:gd name="T61" fmla="*/ 135 h 138"/>
              <a:gd name="T62" fmla="*/ 89 w 171"/>
              <a:gd name="T63" fmla="*/ 138 h 138"/>
              <a:gd name="T64" fmla="*/ 121 w 171"/>
              <a:gd name="T65" fmla="*/ 138 h 138"/>
              <a:gd name="T66" fmla="*/ 124 w 171"/>
              <a:gd name="T67" fmla="*/ 135 h 138"/>
              <a:gd name="T68" fmla="*/ 124 w 171"/>
              <a:gd name="T69" fmla="*/ 104 h 138"/>
              <a:gd name="T70" fmla="*/ 121 w 171"/>
              <a:gd name="T71" fmla="*/ 101 h 138"/>
              <a:gd name="T72" fmla="*/ 117 w 171"/>
              <a:gd name="T73" fmla="*/ 104 h 138"/>
              <a:gd name="T74" fmla="*/ 117 w 171"/>
              <a:gd name="T75" fmla="*/ 127 h 138"/>
              <a:gd name="T76" fmla="*/ 62 w 171"/>
              <a:gd name="T77" fmla="*/ 72 h 138"/>
              <a:gd name="T78" fmla="*/ 159 w 171"/>
              <a:gd name="T79" fmla="*/ 72 h 138"/>
              <a:gd name="T80" fmla="*/ 142 w 171"/>
              <a:gd name="T81" fmla="*/ 90 h 138"/>
              <a:gd name="T82" fmla="*/ 141 w 171"/>
              <a:gd name="T83" fmla="*/ 92 h 138"/>
              <a:gd name="T84" fmla="*/ 144 w 171"/>
              <a:gd name="T85" fmla="*/ 96 h 138"/>
              <a:gd name="T86" fmla="*/ 146 w 171"/>
              <a:gd name="T87" fmla="*/ 95 h 138"/>
              <a:gd name="T88" fmla="*/ 170 w 171"/>
              <a:gd name="T89" fmla="*/ 71 h 138"/>
              <a:gd name="T90" fmla="*/ 171 w 171"/>
              <a:gd name="T91" fmla="*/ 69 h 138"/>
              <a:gd name="T92" fmla="*/ 170 w 171"/>
              <a:gd name="T93" fmla="*/ 67 h 138"/>
              <a:gd name="T94" fmla="*/ 15 w 171"/>
              <a:gd name="T95" fmla="*/ 77 h 138"/>
              <a:gd name="T96" fmla="*/ 7 w 171"/>
              <a:gd name="T97" fmla="*/ 69 h 138"/>
              <a:gd name="T98" fmla="*/ 15 w 171"/>
              <a:gd name="T99" fmla="*/ 61 h 138"/>
              <a:gd name="T100" fmla="*/ 24 w 171"/>
              <a:gd name="T101" fmla="*/ 69 h 138"/>
              <a:gd name="T102" fmla="*/ 15 w 171"/>
              <a:gd name="T103" fmla="*/ 7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1" h="138">
                <a:moveTo>
                  <a:pt x="170" y="67"/>
                </a:moveTo>
                <a:cubicBezTo>
                  <a:pt x="146" y="43"/>
                  <a:pt x="146" y="43"/>
                  <a:pt x="146" y="43"/>
                </a:cubicBezTo>
                <a:cubicBezTo>
                  <a:pt x="146" y="43"/>
                  <a:pt x="145" y="43"/>
                  <a:pt x="144" y="43"/>
                </a:cubicBezTo>
                <a:cubicBezTo>
                  <a:pt x="142" y="43"/>
                  <a:pt x="141" y="44"/>
                  <a:pt x="141" y="46"/>
                </a:cubicBezTo>
                <a:cubicBezTo>
                  <a:pt x="141" y="47"/>
                  <a:pt x="141" y="48"/>
                  <a:pt x="142" y="48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3" y="65"/>
                  <a:pt x="63" y="65"/>
                  <a:pt x="63" y="65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7" y="36"/>
                  <a:pt x="119" y="37"/>
                  <a:pt x="121" y="37"/>
                </a:cubicBezTo>
                <a:cubicBezTo>
                  <a:pt x="122" y="37"/>
                  <a:pt x="124" y="36"/>
                  <a:pt x="124" y="34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1"/>
                  <a:pt x="122" y="0"/>
                  <a:pt x="121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8" y="0"/>
                  <a:pt x="86" y="1"/>
                  <a:pt x="86" y="3"/>
                </a:cubicBezTo>
                <a:cubicBezTo>
                  <a:pt x="86" y="5"/>
                  <a:pt x="88" y="6"/>
                  <a:pt x="89" y="6"/>
                </a:cubicBezTo>
                <a:cubicBezTo>
                  <a:pt x="113" y="6"/>
                  <a:pt x="113" y="6"/>
                  <a:pt x="113" y="6"/>
                </a:cubicBezTo>
                <a:cubicBezTo>
                  <a:pt x="53" y="66"/>
                  <a:pt x="53" y="66"/>
                  <a:pt x="53" y="66"/>
                </a:cubicBezTo>
                <a:cubicBezTo>
                  <a:pt x="30" y="66"/>
                  <a:pt x="30" y="66"/>
                  <a:pt x="30" y="66"/>
                </a:cubicBezTo>
                <a:cubicBezTo>
                  <a:pt x="30" y="65"/>
                  <a:pt x="30" y="65"/>
                  <a:pt x="30" y="65"/>
                </a:cubicBezTo>
                <a:cubicBezTo>
                  <a:pt x="28" y="59"/>
                  <a:pt x="22" y="54"/>
                  <a:pt x="15" y="54"/>
                </a:cubicBezTo>
                <a:cubicBezTo>
                  <a:pt x="7" y="54"/>
                  <a:pt x="0" y="61"/>
                  <a:pt x="0" y="69"/>
                </a:cubicBezTo>
                <a:cubicBezTo>
                  <a:pt x="0" y="77"/>
                  <a:pt x="7" y="84"/>
                  <a:pt x="15" y="84"/>
                </a:cubicBezTo>
                <a:cubicBezTo>
                  <a:pt x="22" y="84"/>
                  <a:pt x="28" y="79"/>
                  <a:pt x="30" y="73"/>
                </a:cubicBezTo>
                <a:cubicBezTo>
                  <a:pt x="30" y="72"/>
                  <a:pt x="30" y="72"/>
                  <a:pt x="30" y="72"/>
                </a:cubicBezTo>
                <a:cubicBezTo>
                  <a:pt x="53" y="72"/>
                  <a:pt x="53" y="72"/>
                  <a:pt x="53" y="72"/>
                </a:cubicBezTo>
                <a:cubicBezTo>
                  <a:pt x="53" y="73"/>
                  <a:pt x="53" y="73"/>
                  <a:pt x="53" y="73"/>
                </a:cubicBezTo>
                <a:cubicBezTo>
                  <a:pt x="113" y="132"/>
                  <a:pt x="113" y="132"/>
                  <a:pt x="113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8" y="132"/>
                  <a:pt x="86" y="133"/>
                  <a:pt x="86" y="135"/>
                </a:cubicBezTo>
                <a:cubicBezTo>
                  <a:pt x="86" y="137"/>
                  <a:pt x="88" y="138"/>
                  <a:pt x="89" y="13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22" y="138"/>
                  <a:pt x="124" y="137"/>
                  <a:pt x="124" y="135"/>
                </a:cubicBezTo>
                <a:cubicBezTo>
                  <a:pt x="124" y="104"/>
                  <a:pt x="124" y="104"/>
                  <a:pt x="124" y="104"/>
                </a:cubicBezTo>
                <a:cubicBezTo>
                  <a:pt x="124" y="102"/>
                  <a:pt x="122" y="101"/>
                  <a:pt x="121" y="101"/>
                </a:cubicBezTo>
                <a:cubicBezTo>
                  <a:pt x="119" y="101"/>
                  <a:pt x="117" y="102"/>
                  <a:pt x="117" y="104"/>
                </a:cubicBezTo>
                <a:cubicBezTo>
                  <a:pt x="117" y="127"/>
                  <a:pt x="117" y="127"/>
                  <a:pt x="117" y="127"/>
                </a:cubicBezTo>
                <a:cubicBezTo>
                  <a:pt x="62" y="72"/>
                  <a:pt x="62" y="72"/>
                  <a:pt x="62" y="72"/>
                </a:cubicBezTo>
                <a:cubicBezTo>
                  <a:pt x="159" y="72"/>
                  <a:pt x="159" y="72"/>
                  <a:pt x="159" y="72"/>
                </a:cubicBezTo>
                <a:cubicBezTo>
                  <a:pt x="142" y="90"/>
                  <a:pt x="142" y="90"/>
                  <a:pt x="142" y="90"/>
                </a:cubicBezTo>
                <a:cubicBezTo>
                  <a:pt x="141" y="91"/>
                  <a:pt x="141" y="91"/>
                  <a:pt x="141" y="92"/>
                </a:cubicBezTo>
                <a:cubicBezTo>
                  <a:pt x="141" y="94"/>
                  <a:pt x="142" y="96"/>
                  <a:pt x="144" y="96"/>
                </a:cubicBezTo>
                <a:cubicBezTo>
                  <a:pt x="145" y="96"/>
                  <a:pt x="146" y="95"/>
                  <a:pt x="146" y="95"/>
                </a:cubicBezTo>
                <a:cubicBezTo>
                  <a:pt x="170" y="71"/>
                  <a:pt x="170" y="71"/>
                  <a:pt x="170" y="71"/>
                </a:cubicBezTo>
                <a:cubicBezTo>
                  <a:pt x="170" y="71"/>
                  <a:pt x="171" y="70"/>
                  <a:pt x="171" y="69"/>
                </a:cubicBezTo>
                <a:cubicBezTo>
                  <a:pt x="171" y="68"/>
                  <a:pt x="170" y="67"/>
                  <a:pt x="170" y="67"/>
                </a:cubicBezTo>
                <a:close/>
                <a:moveTo>
                  <a:pt x="15" y="77"/>
                </a:moveTo>
                <a:cubicBezTo>
                  <a:pt x="11" y="77"/>
                  <a:pt x="7" y="74"/>
                  <a:pt x="7" y="69"/>
                </a:cubicBezTo>
                <a:cubicBezTo>
                  <a:pt x="7" y="64"/>
                  <a:pt x="11" y="61"/>
                  <a:pt x="15" y="61"/>
                </a:cubicBezTo>
                <a:cubicBezTo>
                  <a:pt x="20" y="61"/>
                  <a:pt x="24" y="64"/>
                  <a:pt x="24" y="69"/>
                </a:cubicBezTo>
                <a:cubicBezTo>
                  <a:pt x="24" y="74"/>
                  <a:pt x="20" y="77"/>
                  <a:pt x="15" y="7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74" name="Freeform 9">
            <a:extLst>
              <a:ext uri="{FF2B5EF4-FFF2-40B4-BE49-F238E27FC236}">
                <a16:creationId xmlns:a16="http://schemas.microsoft.com/office/drawing/2014/main" id="{8A7D6267-3810-7821-501A-426A38F393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9241390" y="2234191"/>
            <a:ext cx="241225" cy="206361"/>
          </a:xfrm>
          <a:custGeom>
            <a:avLst/>
            <a:gdLst>
              <a:gd name="T0" fmla="*/ 143 w 161"/>
              <a:gd name="T1" fmla="*/ 0 h 164"/>
              <a:gd name="T2" fmla="*/ 125 w 161"/>
              <a:gd name="T3" fmla="*/ 19 h 164"/>
              <a:gd name="T4" fmla="*/ 139 w 161"/>
              <a:gd name="T5" fmla="*/ 37 h 164"/>
              <a:gd name="T6" fmla="*/ 140 w 161"/>
              <a:gd name="T7" fmla="*/ 37 h 164"/>
              <a:gd name="T8" fmla="*/ 140 w 161"/>
              <a:gd name="T9" fmla="*/ 79 h 164"/>
              <a:gd name="T10" fmla="*/ 98 w 161"/>
              <a:gd name="T11" fmla="*/ 79 h 164"/>
              <a:gd name="T12" fmla="*/ 98 w 161"/>
              <a:gd name="T13" fmla="*/ 78 h 164"/>
              <a:gd name="T14" fmla="*/ 80 w 161"/>
              <a:gd name="T15" fmla="*/ 64 h 164"/>
              <a:gd name="T16" fmla="*/ 63 w 161"/>
              <a:gd name="T17" fmla="*/ 78 h 164"/>
              <a:gd name="T18" fmla="*/ 63 w 161"/>
              <a:gd name="T19" fmla="*/ 79 h 164"/>
              <a:gd name="T20" fmla="*/ 18 w 161"/>
              <a:gd name="T21" fmla="*/ 79 h 164"/>
              <a:gd name="T22" fmla="*/ 15 w 161"/>
              <a:gd name="T23" fmla="*/ 82 h 164"/>
              <a:gd name="T24" fmla="*/ 15 w 161"/>
              <a:gd name="T25" fmla="*/ 128 h 164"/>
              <a:gd name="T26" fmla="*/ 15 w 161"/>
              <a:gd name="T27" fmla="*/ 128 h 164"/>
              <a:gd name="T28" fmla="*/ 0 w 161"/>
              <a:gd name="T29" fmla="*/ 146 h 164"/>
              <a:gd name="T30" fmla="*/ 18 w 161"/>
              <a:gd name="T31" fmla="*/ 164 h 164"/>
              <a:gd name="T32" fmla="*/ 36 w 161"/>
              <a:gd name="T33" fmla="*/ 146 h 164"/>
              <a:gd name="T34" fmla="*/ 22 w 161"/>
              <a:gd name="T35" fmla="*/ 128 h 164"/>
              <a:gd name="T36" fmla="*/ 21 w 161"/>
              <a:gd name="T37" fmla="*/ 128 h 164"/>
              <a:gd name="T38" fmla="*/ 21 w 161"/>
              <a:gd name="T39" fmla="*/ 85 h 164"/>
              <a:gd name="T40" fmla="*/ 63 w 161"/>
              <a:gd name="T41" fmla="*/ 85 h 164"/>
              <a:gd name="T42" fmla="*/ 63 w 161"/>
              <a:gd name="T43" fmla="*/ 86 h 164"/>
              <a:gd name="T44" fmla="*/ 80 w 161"/>
              <a:gd name="T45" fmla="*/ 100 h 164"/>
              <a:gd name="T46" fmla="*/ 98 w 161"/>
              <a:gd name="T47" fmla="*/ 86 h 164"/>
              <a:gd name="T48" fmla="*/ 98 w 161"/>
              <a:gd name="T49" fmla="*/ 85 h 164"/>
              <a:gd name="T50" fmla="*/ 143 w 161"/>
              <a:gd name="T51" fmla="*/ 85 h 164"/>
              <a:gd name="T52" fmla="*/ 146 w 161"/>
              <a:gd name="T53" fmla="*/ 82 h 164"/>
              <a:gd name="T54" fmla="*/ 146 w 161"/>
              <a:gd name="T55" fmla="*/ 37 h 164"/>
              <a:gd name="T56" fmla="*/ 146 w 161"/>
              <a:gd name="T57" fmla="*/ 37 h 164"/>
              <a:gd name="T58" fmla="*/ 161 w 161"/>
              <a:gd name="T59" fmla="*/ 19 h 164"/>
              <a:gd name="T60" fmla="*/ 143 w 161"/>
              <a:gd name="T61" fmla="*/ 0 h 164"/>
              <a:gd name="T62" fmla="*/ 30 w 161"/>
              <a:gd name="T63" fmla="*/ 145 h 164"/>
              <a:gd name="T64" fmla="*/ 18 w 161"/>
              <a:gd name="T65" fmla="*/ 157 h 164"/>
              <a:gd name="T66" fmla="*/ 7 w 161"/>
              <a:gd name="T67" fmla="*/ 145 h 164"/>
              <a:gd name="T68" fmla="*/ 18 w 161"/>
              <a:gd name="T69" fmla="*/ 134 h 164"/>
              <a:gd name="T70" fmla="*/ 30 w 161"/>
              <a:gd name="T71" fmla="*/ 145 h 164"/>
              <a:gd name="T72" fmla="*/ 81 w 161"/>
              <a:gd name="T73" fmla="*/ 94 h 164"/>
              <a:gd name="T74" fmla="*/ 69 w 161"/>
              <a:gd name="T75" fmla="*/ 82 h 164"/>
              <a:gd name="T76" fmla="*/ 81 w 161"/>
              <a:gd name="T77" fmla="*/ 70 h 164"/>
              <a:gd name="T78" fmla="*/ 92 w 161"/>
              <a:gd name="T79" fmla="*/ 82 h 164"/>
              <a:gd name="T80" fmla="*/ 81 w 161"/>
              <a:gd name="T81" fmla="*/ 94 h 164"/>
              <a:gd name="T82" fmla="*/ 143 w 161"/>
              <a:gd name="T83" fmla="*/ 30 h 164"/>
              <a:gd name="T84" fmla="*/ 131 w 161"/>
              <a:gd name="T85" fmla="*/ 19 h 164"/>
              <a:gd name="T86" fmla="*/ 143 w 161"/>
              <a:gd name="T87" fmla="*/ 7 h 164"/>
              <a:gd name="T88" fmla="*/ 154 w 161"/>
              <a:gd name="T89" fmla="*/ 19 h 164"/>
              <a:gd name="T90" fmla="*/ 143 w 161"/>
              <a:gd name="T91" fmla="*/ 3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1" h="164">
                <a:moveTo>
                  <a:pt x="143" y="0"/>
                </a:moveTo>
                <a:cubicBezTo>
                  <a:pt x="133" y="0"/>
                  <a:pt x="125" y="9"/>
                  <a:pt x="125" y="19"/>
                </a:cubicBezTo>
                <a:cubicBezTo>
                  <a:pt x="125" y="27"/>
                  <a:pt x="131" y="35"/>
                  <a:pt x="139" y="37"/>
                </a:cubicBezTo>
                <a:cubicBezTo>
                  <a:pt x="140" y="37"/>
                  <a:pt x="140" y="37"/>
                  <a:pt x="140" y="37"/>
                </a:cubicBezTo>
                <a:cubicBezTo>
                  <a:pt x="140" y="79"/>
                  <a:pt x="140" y="79"/>
                  <a:pt x="140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98" y="78"/>
                  <a:pt x="98" y="78"/>
                  <a:pt x="98" y="78"/>
                </a:cubicBezTo>
                <a:cubicBezTo>
                  <a:pt x="96" y="70"/>
                  <a:pt x="89" y="64"/>
                  <a:pt x="80" y="64"/>
                </a:cubicBezTo>
                <a:cubicBezTo>
                  <a:pt x="72" y="64"/>
                  <a:pt x="65" y="70"/>
                  <a:pt x="63" y="78"/>
                </a:cubicBezTo>
                <a:cubicBezTo>
                  <a:pt x="63" y="79"/>
                  <a:pt x="63" y="79"/>
                  <a:pt x="63" y="79"/>
                </a:cubicBezTo>
                <a:cubicBezTo>
                  <a:pt x="18" y="79"/>
                  <a:pt x="18" y="79"/>
                  <a:pt x="18" y="79"/>
                </a:cubicBezTo>
                <a:cubicBezTo>
                  <a:pt x="16" y="79"/>
                  <a:pt x="15" y="80"/>
                  <a:pt x="15" y="82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6" y="129"/>
                  <a:pt x="0" y="137"/>
                  <a:pt x="0" y="146"/>
                </a:cubicBezTo>
                <a:cubicBezTo>
                  <a:pt x="0" y="156"/>
                  <a:pt x="8" y="164"/>
                  <a:pt x="18" y="164"/>
                </a:cubicBezTo>
                <a:cubicBezTo>
                  <a:pt x="28" y="164"/>
                  <a:pt x="36" y="156"/>
                  <a:pt x="36" y="146"/>
                </a:cubicBezTo>
                <a:cubicBezTo>
                  <a:pt x="36" y="137"/>
                  <a:pt x="30" y="129"/>
                  <a:pt x="22" y="128"/>
                </a:cubicBezTo>
                <a:cubicBezTo>
                  <a:pt x="21" y="128"/>
                  <a:pt x="21" y="128"/>
                  <a:pt x="21" y="128"/>
                </a:cubicBezTo>
                <a:cubicBezTo>
                  <a:pt x="21" y="85"/>
                  <a:pt x="21" y="85"/>
                  <a:pt x="21" y="85"/>
                </a:cubicBezTo>
                <a:cubicBezTo>
                  <a:pt x="63" y="85"/>
                  <a:pt x="63" y="85"/>
                  <a:pt x="63" y="85"/>
                </a:cubicBezTo>
                <a:cubicBezTo>
                  <a:pt x="63" y="86"/>
                  <a:pt x="63" y="86"/>
                  <a:pt x="63" y="86"/>
                </a:cubicBezTo>
                <a:cubicBezTo>
                  <a:pt x="65" y="94"/>
                  <a:pt x="72" y="100"/>
                  <a:pt x="80" y="100"/>
                </a:cubicBezTo>
                <a:cubicBezTo>
                  <a:pt x="89" y="100"/>
                  <a:pt x="96" y="94"/>
                  <a:pt x="98" y="86"/>
                </a:cubicBezTo>
                <a:cubicBezTo>
                  <a:pt x="98" y="85"/>
                  <a:pt x="98" y="85"/>
                  <a:pt x="98" y="85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5" y="85"/>
                  <a:pt x="146" y="84"/>
                  <a:pt x="146" y="82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55" y="35"/>
                  <a:pt x="161" y="27"/>
                  <a:pt x="161" y="19"/>
                </a:cubicBezTo>
                <a:cubicBezTo>
                  <a:pt x="161" y="9"/>
                  <a:pt x="153" y="0"/>
                  <a:pt x="143" y="0"/>
                </a:cubicBezTo>
                <a:close/>
                <a:moveTo>
                  <a:pt x="30" y="145"/>
                </a:moveTo>
                <a:cubicBezTo>
                  <a:pt x="30" y="152"/>
                  <a:pt x="24" y="157"/>
                  <a:pt x="18" y="157"/>
                </a:cubicBezTo>
                <a:cubicBezTo>
                  <a:pt x="12" y="157"/>
                  <a:pt x="7" y="152"/>
                  <a:pt x="7" y="145"/>
                </a:cubicBezTo>
                <a:cubicBezTo>
                  <a:pt x="7" y="139"/>
                  <a:pt x="12" y="134"/>
                  <a:pt x="18" y="134"/>
                </a:cubicBezTo>
                <a:cubicBezTo>
                  <a:pt x="24" y="134"/>
                  <a:pt x="30" y="139"/>
                  <a:pt x="30" y="145"/>
                </a:cubicBezTo>
                <a:close/>
                <a:moveTo>
                  <a:pt x="81" y="94"/>
                </a:moveTo>
                <a:cubicBezTo>
                  <a:pt x="74" y="94"/>
                  <a:pt x="69" y="88"/>
                  <a:pt x="69" y="82"/>
                </a:cubicBezTo>
                <a:cubicBezTo>
                  <a:pt x="69" y="76"/>
                  <a:pt x="74" y="70"/>
                  <a:pt x="81" y="70"/>
                </a:cubicBezTo>
                <a:cubicBezTo>
                  <a:pt x="87" y="70"/>
                  <a:pt x="92" y="76"/>
                  <a:pt x="92" y="82"/>
                </a:cubicBezTo>
                <a:cubicBezTo>
                  <a:pt x="92" y="88"/>
                  <a:pt x="87" y="94"/>
                  <a:pt x="81" y="94"/>
                </a:cubicBezTo>
                <a:close/>
                <a:moveTo>
                  <a:pt x="143" y="30"/>
                </a:moveTo>
                <a:cubicBezTo>
                  <a:pt x="137" y="30"/>
                  <a:pt x="131" y="25"/>
                  <a:pt x="131" y="19"/>
                </a:cubicBezTo>
                <a:cubicBezTo>
                  <a:pt x="131" y="12"/>
                  <a:pt x="137" y="7"/>
                  <a:pt x="143" y="7"/>
                </a:cubicBezTo>
                <a:cubicBezTo>
                  <a:pt x="149" y="7"/>
                  <a:pt x="154" y="12"/>
                  <a:pt x="154" y="19"/>
                </a:cubicBezTo>
                <a:cubicBezTo>
                  <a:pt x="154" y="25"/>
                  <a:pt x="149" y="30"/>
                  <a:pt x="143" y="30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75" name="Oval 174">
            <a:extLst>
              <a:ext uri="{FF2B5EF4-FFF2-40B4-BE49-F238E27FC236}">
                <a16:creationId xmlns:a16="http://schemas.microsoft.com/office/drawing/2014/main" id="{7646D6EC-0DF9-0B9F-7211-11A2D032F022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>
            <a:off x="6347723" y="5883734"/>
            <a:ext cx="432000" cy="432000"/>
          </a:xfrm>
          <a:prstGeom prst="ellipse">
            <a:avLst/>
          </a:prstGeom>
          <a:solidFill>
            <a:schemeClr val="accent6"/>
          </a:solidFill>
          <a:ln w="381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76" name="Freeform 8">
            <a:extLst>
              <a:ext uri="{FF2B5EF4-FFF2-40B4-BE49-F238E27FC236}">
                <a16:creationId xmlns:a16="http://schemas.microsoft.com/office/drawing/2014/main" id="{5CD8E0AA-CBC7-D307-80D5-D73EF812B983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472328" y="2244360"/>
            <a:ext cx="241225" cy="163832"/>
          </a:xfrm>
          <a:custGeom>
            <a:avLst/>
            <a:gdLst>
              <a:gd name="T0" fmla="*/ 170 w 171"/>
              <a:gd name="T1" fmla="*/ 67 h 138"/>
              <a:gd name="T2" fmla="*/ 146 w 171"/>
              <a:gd name="T3" fmla="*/ 43 h 138"/>
              <a:gd name="T4" fmla="*/ 144 w 171"/>
              <a:gd name="T5" fmla="*/ 43 h 138"/>
              <a:gd name="T6" fmla="*/ 141 w 171"/>
              <a:gd name="T7" fmla="*/ 46 h 138"/>
              <a:gd name="T8" fmla="*/ 142 w 171"/>
              <a:gd name="T9" fmla="*/ 48 h 138"/>
              <a:gd name="T10" fmla="*/ 159 w 171"/>
              <a:gd name="T11" fmla="*/ 66 h 138"/>
              <a:gd name="T12" fmla="*/ 62 w 171"/>
              <a:gd name="T13" fmla="*/ 66 h 138"/>
              <a:gd name="T14" fmla="*/ 63 w 171"/>
              <a:gd name="T15" fmla="*/ 65 h 138"/>
              <a:gd name="T16" fmla="*/ 117 w 171"/>
              <a:gd name="T17" fmla="*/ 11 h 138"/>
              <a:gd name="T18" fmla="*/ 117 w 171"/>
              <a:gd name="T19" fmla="*/ 34 h 138"/>
              <a:gd name="T20" fmla="*/ 121 w 171"/>
              <a:gd name="T21" fmla="*/ 37 h 138"/>
              <a:gd name="T22" fmla="*/ 124 w 171"/>
              <a:gd name="T23" fmla="*/ 34 h 138"/>
              <a:gd name="T24" fmla="*/ 124 w 171"/>
              <a:gd name="T25" fmla="*/ 3 h 138"/>
              <a:gd name="T26" fmla="*/ 121 w 171"/>
              <a:gd name="T27" fmla="*/ 0 h 138"/>
              <a:gd name="T28" fmla="*/ 89 w 171"/>
              <a:gd name="T29" fmla="*/ 0 h 138"/>
              <a:gd name="T30" fmla="*/ 86 w 171"/>
              <a:gd name="T31" fmla="*/ 3 h 138"/>
              <a:gd name="T32" fmla="*/ 89 w 171"/>
              <a:gd name="T33" fmla="*/ 6 h 138"/>
              <a:gd name="T34" fmla="*/ 113 w 171"/>
              <a:gd name="T35" fmla="*/ 6 h 138"/>
              <a:gd name="T36" fmla="*/ 53 w 171"/>
              <a:gd name="T37" fmla="*/ 66 h 138"/>
              <a:gd name="T38" fmla="*/ 30 w 171"/>
              <a:gd name="T39" fmla="*/ 66 h 138"/>
              <a:gd name="T40" fmla="*/ 30 w 171"/>
              <a:gd name="T41" fmla="*/ 65 h 138"/>
              <a:gd name="T42" fmla="*/ 15 w 171"/>
              <a:gd name="T43" fmla="*/ 54 h 138"/>
              <a:gd name="T44" fmla="*/ 0 w 171"/>
              <a:gd name="T45" fmla="*/ 69 h 138"/>
              <a:gd name="T46" fmla="*/ 15 w 171"/>
              <a:gd name="T47" fmla="*/ 84 h 138"/>
              <a:gd name="T48" fmla="*/ 30 w 171"/>
              <a:gd name="T49" fmla="*/ 73 h 138"/>
              <a:gd name="T50" fmla="*/ 30 w 171"/>
              <a:gd name="T51" fmla="*/ 72 h 138"/>
              <a:gd name="T52" fmla="*/ 53 w 171"/>
              <a:gd name="T53" fmla="*/ 72 h 138"/>
              <a:gd name="T54" fmla="*/ 53 w 171"/>
              <a:gd name="T55" fmla="*/ 73 h 138"/>
              <a:gd name="T56" fmla="*/ 113 w 171"/>
              <a:gd name="T57" fmla="*/ 132 h 138"/>
              <a:gd name="T58" fmla="*/ 89 w 171"/>
              <a:gd name="T59" fmla="*/ 132 h 138"/>
              <a:gd name="T60" fmla="*/ 86 w 171"/>
              <a:gd name="T61" fmla="*/ 135 h 138"/>
              <a:gd name="T62" fmla="*/ 89 w 171"/>
              <a:gd name="T63" fmla="*/ 138 h 138"/>
              <a:gd name="T64" fmla="*/ 121 w 171"/>
              <a:gd name="T65" fmla="*/ 138 h 138"/>
              <a:gd name="T66" fmla="*/ 124 w 171"/>
              <a:gd name="T67" fmla="*/ 135 h 138"/>
              <a:gd name="T68" fmla="*/ 124 w 171"/>
              <a:gd name="T69" fmla="*/ 104 h 138"/>
              <a:gd name="T70" fmla="*/ 121 w 171"/>
              <a:gd name="T71" fmla="*/ 101 h 138"/>
              <a:gd name="T72" fmla="*/ 117 w 171"/>
              <a:gd name="T73" fmla="*/ 104 h 138"/>
              <a:gd name="T74" fmla="*/ 117 w 171"/>
              <a:gd name="T75" fmla="*/ 127 h 138"/>
              <a:gd name="T76" fmla="*/ 62 w 171"/>
              <a:gd name="T77" fmla="*/ 72 h 138"/>
              <a:gd name="T78" fmla="*/ 159 w 171"/>
              <a:gd name="T79" fmla="*/ 72 h 138"/>
              <a:gd name="T80" fmla="*/ 142 w 171"/>
              <a:gd name="T81" fmla="*/ 90 h 138"/>
              <a:gd name="T82" fmla="*/ 141 w 171"/>
              <a:gd name="T83" fmla="*/ 92 h 138"/>
              <a:gd name="T84" fmla="*/ 144 w 171"/>
              <a:gd name="T85" fmla="*/ 96 h 138"/>
              <a:gd name="T86" fmla="*/ 146 w 171"/>
              <a:gd name="T87" fmla="*/ 95 h 138"/>
              <a:gd name="T88" fmla="*/ 170 w 171"/>
              <a:gd name="T89" fmla="*/ 71 h 138"/>
              <a:gd name="T90" fmla="*/ 171 w 171"/>
              <a:gd name="T91" fmla="*/ 69 h 138"/>
              <a:gd name="T92" fmla="*/ 170 w 171"/>
              <a:gd name="T93" fmla="*/ 67 h 138"/>
              <a:gd name="T94" fmla="*/ 15 w 171"/>
              <a:gd name="T95" fmla="*/ 77 h 138"/>
              <a:gd name="T96" fmla="*/ 7 w 171"/>
              <a:gd name="T97" fmla="*/ 69 h 138"/>
              <a:gd name="T98" fmla="*/ 15 w 171"/>
              <a:gd name="T99" fmla="*/ 61 h 138"/>
              <a:gd name="T100" fmla="*/ 24 w 171"/>
              <a:gd name="T101" fmla="*/ 69 h 138"/>
              <a:gd name="T102" fmla="*/ 15 w 171"/>
              <a:gd name="T103" fmla="*/ 7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1" h="138">
                <a:moveTo>
                  <a:pt x="170" y="67"/>
                </a:moveTo>
                <a:cubicBezTo>
                  <a:pt x="146" y="43"/>
                  <a:pt x="146" y="43"/>
                  <a:pt x="146" y="43"/>
                </a:cubicBezTo>
                <a:cubicBezTo>
                  <a:pt x="146" y="43"/>
                  <a:pt x="145" y="43"/>
                  <a:pt x="144" y="43"/>
                </a:cubicBezTo>
                <a:cubicBezTo>
                  <a:pt x="142" y="43"/>
                  <a:pt x="141" y="44"/>
                  <a:pt x="141" y="46"/>
                </a:cubicBezTo>
                <a:cubicBezTo>
                  <a:pt x="141" y="47"/>
                  <a:pt x="141" y="48"/>
                  <a:pt x="142" y="48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3" y="65"/>
                  <a:pt x="63" y="65"/>
                  <a:pt x="63" y="65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7" y="36"/>
                  <a:pt x="119" y="37"/>
                  <a:pt x="121" y="37"/>
                </a:cubicBezTo>
                <a:cubicBezTo>
                  <a:pt x="122" y="37"/>
                  <a:pt x="124" y="36"/>
                  <a:pt x="124" y="34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1"/>
                  <a:pt x="122" y="0"/>
                  <a:pt x="121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8" y="0"/>
                  <a:pt x="86" y="1"/>
                  <a:pt x="86" y="3"/>
                </a:cubicBezTo>
                <a:cubicBezTo>
                  <a:pt x="86" y="5"/>
                  <a:pt x="88" y="6"/>
                  <a:pt x="89" y="6"/>
                </a:cubicBezTo>
                <a:cubicBezTo>
                  <a:pt x="113" y="6"/>
                  <a:pt x="113" y="6"/>
                  <a:pt x="113" y="6"/>
                </a:cubicBezTo>
                <a:cubicBezTo>
                  <a:pt x="53" y="66"/>
                  <a:pt x="53" y="66"/>
                  <a:pt x="53" y="66"/>
                </a:cubicBezTo>
                <a:cubicBezTo>
                  <a:pt x="30" y="66"/>
                  <a:pt x="30" y="66"/>
                  <a:pt x="30" y="66"/>
                </a:cubicBezTo>
                <a:cubicBezTo>
                  <a:pt x="30" y="65"/>
                  <a:pt x="30" y="65"/>
                  <a:pt x="30" y="65"/>
                </a:cubicBezTo>
                <a:cubicBezTo>
                  <a:pt x="28" y="59"/>
                  <a:pt x="22" y="54"/>
                  <a:pt x="15" y="54"/>
                </a:cubicBezTo>
                <a:cubicBezTo>
                  <a:pt x="7" y="54"/>
                  <a:pt x="0" y="61"/>
                  <a:pt x="0" y="69"/>
                </a:cubicBezTo>
                <a:cubicBezTo>
                  <a:pt x="0" y="77"/>
                  <a:pt x="7" y="84"/>
                  <a:pt x="15" y="84"/>
                </a:cubicBezTo>
                <a:cubicBezTo>
                  <a:pt x="22" y="84"/>
                  <a:pt x="28" y="79"/>
                  <a:pt x="30" y="73"/>
                </a:cubicBezTo>
                <a:cubicBezTo>
                  <a:pt x="30" y="72"/>
                  <a:pt x="30" y="72"/>
                  <a:pt x="30" y="72"/>
                </a:cubicBezTo>
                <a:cubicBezTo>
                  <a:pt x="53" y="72"/>
                  <a:pt x="53" y="72"/>
                  <a:pt x="53" y="72"/>
                </a:cubicBezTo>
                <a:cubicBezTo>
                  <a:pt x="53" y="73"/>
                  <a:pt x="53" y="73"/>
                  <a:pt x="53" y="73"/>
                </a:cubicBezTo>
                <a:cubicBezTo>
                  <a:pt x="113" y="132"/>
                  <a:pt x="113" y="132"/>
                  <a:pt x="113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8" y="132"/>
                  <a:pt x="86" y="133"/>
                  <a:pt x="86" y="135"/>
                </a:cubicBezTo>
                <a:cubicBezTo>
                  <a:pt x="86" y="137"/>
                  <a:pt x="88" y="138"/>
                  <a:pt x="89" y="13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22" y="138"/>
                  <a:pt x="124" y="137"/>
                  <a:pt x="124" y="135"/>
                </a:cubicBezTo>
                <a:cubicBezTo>
                  <a:pt x="124" y="104"/>
                  <a:pt x="124" y="104"/>
                  <a:pt x="124" y="104"/>
                </a:cubicBezTo>
                <a:cubicBezTo>
                  <a:pt x="124" y="102"/>
                  <a:pt x="122" y="101"/>
                  <a:pt x="121" y="101"/>
                </a:cubicBezTo>
                <a:cubicBezTo>
                  <a:pt x="119" y="101"/>
                  <a:pt x="117" y="102"/>
                  <a:pt x="117" y="104"/>
                </a:cubicBezTo>
                <a:cubicBezTo>
                  <a:pt x="117" y="127"/>
                  <a:pt x="117" y="127"/>
                  <a:pt x="117" y="127"/>
                </a:cubicBezTo>
                <a:cubicBezTo>
                  <a:pt x="62" y="72"/>
                  <a:pt x="62" y="72"/>
                  <a:pt x="62" y="72"/>
                </a:cubicBezTo>
                <a:cubicBezTo>
                  <a:pt x="159" y="72"/>
                  <a:pt x="159" y="72"/>
                  <a:pt x="159" y="72"/>
                </a:cubicBezTo>
                <a:cubicBezTo>
                  <a:pt x="142" y="90"/>
                  <a:pt x="142" y="90"/>
                  <a:pt x="142" y="90"/>
                </a:cubicBezTo>
                <a:cubicBezTo>
                  <a:pt x="141" y="91"/>
                  <a:pt x="141" y="91"/>
                  <a:pt x="141" y="92"/>
                </a:cubicBezTo>
                <a:cubicBezTo>
                  <a:pt x="141" y="94"/>
                  <a:pt x="142" y="96"/>
                  <a:pt x="144" y="96"/>
                </a:cubicBezTo>
                <a:cubicBezTo>
                  <a:pt x="145" y="96"/>
                  <a:pt x="146" y="95"/>
                  <a:pt x="146" y="95"/>
                </a:cubicBezTo>
                <a:cubicBezTo>
                  <a:pt x="170" y="71"/>
                  <a:pt x="170" y="71"/>
                  <a:pt x="170" y="71"/>
                </a:cubicBezTo>
                <a:cubicBezTo>
                  <a:pt x="170" y="71"/>
                  <a:pt x="171" y="70"/>
                  <a:pt x="171" y="69"/>
                </a:cubicBezTo>
                <a:cubicBezTo>
                  <a:pt x="171" y="68"/>
                  <a:pt x="170" y="67"/>
                  <a:pt x="170" y="67"/>
                </a:cubicBezTo>
                <a:close/>
                <a:moveTo>
                  <a:pt x="15" y="77"/>
                </a:moveTo>
                <a:cubicBezTo>
                  <a:pt x="11" y="77"/>
                  <a:pt x="7" y="74"/>
                  <a:pt x="7" y="69"/>
                </a:cubicBezTo>
                <a:cubicBezTo>
                  <a:pt x="7" y="64"/>
                  <a:pt x="11" y="61"/>
                  <a:pt x="15" y="61"/>
                </a:cubicBezTo>
                <a:cubicBezTo>
                  <a:pt x="20" y="61"/>
                  <a:pt x="24" y="64"/>
                  <a:pt x="24" y="69"/>
                </a:cubicBezTo>
                <a:cubicBezTo>
                  <a:pt x="24" y="74"/>
                  <a:pt x="20" y="77"/>
                  <a:pt x="15" y="7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77" name="Freeform 8">
            <a:extLst>
              <a:ext uri="{FF2B5EF4-FFF2-40B4-BE49-F238E27FC236}">
                <a16:creationId xmlns:a16="http://schemas.microsoft.com/office/drawing/2014/main" id="{9A81B40B-7A0F-94A9-061A-BB2BDC4C3D6F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787918" y="2230196"/>
            <a:ext cx="241225" cy="163832"/>
          </a:xfrm>
          <a:custGeom>
            <a:avLst/>
            <a:gdLst>
              <a:gd name="T0" fmla="*/ 170 w 171"/>
              <a:gd name="T1" fmla="*/ 67 h 138"/>
              <a:gd name="T2" fmla="*/ 146 w 171"/>
              <a:gd name="T3" fmla="*/ 43 h 138"/>
              <a:gd name="T4" fmla="*/ 144 w 171"/>
              <a:gd name="T5" fmla="*/ 43 h 138"/>
              <a:gd name="T6" fmla="*/ 141 w 171"/>
              <a:gd name="T7" fmla="*/ 46 h 138"/>
              <a:gd name="T8" fmla="*/ 142 w 171"/>
              <a:gd name="T9" fmla="*/ 48 h 138"/>
              <a:gd name="T10" fmla="*/ 159 w 171"/>
              <a:gd name="T11" fmla="*/ 66 h 138"/>
              <a:gd name="T12" fmla="*/ 62 w 171"/>
              <a:gd name="T13" fmla="*/ 66 h 138"/>
              <a:gd name="T14" fmla="*/ 63 w 171"/>
              <a:gd name="T15" fmla="*/ 65 h 138"/>
              <a:gd name="T16" fmla="*/ 117 w 171"/>
              <a:gd name="T17" fmla="*/ 11 h 138"/>
              <a:gd name="T18" fmla="*/ 117 w 171"/>
              <a:gd name="T19" fmla="*/ 34 h 138"/>
              <a:gd name="T20" fmla="*/ 121 w 171"/>
              <a:gd name="T21" fmla="*/ 37 h 138"/>
              <a:gd name="T22" fmla="*/ 124 w 171"/>
              <a:gd name="T23" fmla="*/ 34 h 138"/>
              <a:gd name="T24" fmla="*/ 124 w 171"/>
              <a:gd name="T25" fmla="*/ 3 h 138"/>
              <a:gd name="T26" fmla="*/ 121 w 171"/>
              <a:gd name="T27" fmla="*/ 0 h 138"/>
              <a:gd name="T28" fmla="*/ 89 w 171"/>
              <a:gd name="T29" fmla="*/ 0 h 138"/>
              <a:gd name="T30" fmla="*/ 86 w 171"/>
              <a:gd name="T31" fmla="*/ 3 h 138"/>
              <a:gd name="T32" fmla="*/ 89 w 171"/>
              <a:gd name="T33" fmla="*/ 6 h 138"/>
              <a:gd name="T34" fmla="*/ 113 w 171"/>
              <a:gd name="T35" fmla="*/ 6 h 138"/>
              <a:gd name="T36" fmla="*/ 53 w 171"/>
              <a:gd name="T37" fmla="*/ 66 h 138"/>
              <a:gd name="T38" fmla="*/ 30 w 171"/>
              <a:gd name="T39" fmla="*/ 66 h 138"/>
              <a:gd name="T40" fmla="*/ 30 w 171"/>
              <a:gd name="T41" fmla="*/ 65 h 138"/>
              <a:gd name="T42" fmla="*/ 15 w 171"/>
              <a:gd name="T43" fmla="*/ 54 h 138"/>
              <a:gd name="T44" fmla="*/ 0 w 171"/>
              <a:gd name="T45" fmla="*/ 69 h 138"/>
              <a:gd name="T46" fmla="*/ 15 w 171"/>
              <a:gd name="T47" fmla="*/ 84 h 138"/>
              <a:gd name="T48" fmla="*/ 30 w 171"/>
              <a:gd name="T49" fmla="*/ 73 h 138"/>
              <a:gd name="T50" fmla="*/ 30 w 171"/>
              <a:gd name="T51" fmla="*/ 72 h 138"/>
              <a:gd name="T52" fmla="*/ 53 w 171"/>
              <a:gd name="T53" fmla="*/ 72 h 138"/>
              <a:gd name="T54" fmla="*/ 53 w 171"/>
              <a:gd name="T55" fmla="*/ 73 h 138"/>
              <a:gd name="T56" fmla="*/ 113 w 171"/>
              <a:gd name="T57" fmla="*/ 132 h 138"/>
              <a:gd name="T58" fmla="*/ 89 w 171"/>
              <a:gd name="T59" fmla="*/ 132 h 138"/>
              <a:gd name="T60" fmla="*/ 86 w 171"/>
              <a:gd name="T61" fmla="*/ 135 h 138"/>
              <a:gd name="T62" fmla="*/ 89 w 171"/>
              <a:gd name="T63" fmla="*/ 138 h 138"/>
              <a:gd name="T64" fmla="*/ 121 w 171"/>
              <a:gd name="T65" fmla="*/ 138 h 138"/>
              <a:gd name="T66" fmla="*/ 124 w 171"/>
              <a:gd name="T67" fmla="*/ 135 h 138"/>
              <a:gd name="T68" fmla="*/ 124 w 171"/>
              <a:gd name="T69" fmla="*/ 104 h 138"/>
              <a:gd name="T70" fmla="*/ 121 w 171"/>
              <a:gd name="T71" fmla="*/ 101 h 138"/>
              <a:gd name="T72" fmla="*/ 117 w 171"/>
              <a:gd name="T73" fmla="*/ 104 h 138"/>
              <a:gd name="T74" fmla="*/ 117 w 171"/>
              <a:gd name="T75" fmla="*/ 127 h 138"/>
              <a:gd name="T76" fmla="*/ 62 w 171"/>
              <a:gd name="T77" fmla="*/ 72 h 138"/>
              <a:gd name="T78" fmla="*/ 159 w 171"/>
              <a:gd name="T79" fmla="*/ 72 h 138"/>
              <a:gd name="T80" fmla="*/ 142 w 171"/>
              <a:gd name="T81" fmla="*/ 90 h 138"/>
              <a:gd name="T82" fmla="*/ 141 w 171"/>
              <a:gd name="T83" fmla="*/ 92 h 138"/>
              <a:gd name="T84" fmla="*/ 144 w 171"/>
              <a:gd name="T85" fmla="*/ 96 h 138"/>
              <a:gd name="T86" fmla="*/ 146 w 171"/>
              <a:gd name="T87" fmla="*/ 95 h 138"/>
              <a:gd name="T88" fmla="*/ 170 w 171"/>
              <a:gd name="T89" fmla="*/ 71 h 138"/>
              <a:gd name="T90" fmla="*/ 171 w 171"/>
              <a:gd name="T91" fmla="*/ 69 h 138"/>
              <a:gd name="T92" fmla="*/ 170 w 171"/>
              <a:gd name="T93" fmla="*/ 67 h 138"/>
              <a:gd name="T94" fmla="*/ 15 w 171"/>
              <a:gd name="T95" fmla="*/ 77 h 138"/>
              <a:gd name="T96" fmla="*/ 7 w 171"/>
              <a:gd name="T97" fmla="*/ 69 h 138"/>
              <a:gd name="T98" fmla="*/ 15 w 171"/>
              <a:gd name="T99" fmla="*/ 61 h 138"/>
              <a:gd name="T100" fmla="*/ 24 w 171"/>
              <a:gd name="T101" fmla="*/ 69 h 138"/>
              <a:gd name="T102" fmla="*/ 15 w 171"/>
              <a:gd name="T103" fmla="*/ 7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1" h="138">
                <a:moveTo>
                  <a:pt x="170" y="67"/>
                </a:moveTo>
                <a:cubicBezTo>
                  <a:pt x="146" y="43"/>
                  <a:pt x="146" y="43"/>
                  <a:pt x="146" y="43"/>
                </a:cubicBezTo>
                <a:cubicBezTo>
                  <a:pt x="146" y="43"/>
                  <a:pt x="145" y="43"/>
                  <a:pt x="144" y="43"/>
                </a:cubicBezTo>
                <a:cubicBezTo>
                  <a:pt x="142" y="43"/>
                  <a:pt x="141" y="44"/>
                  <a:pt x="141" y="46"/>
                </a:cubicBezTo>
                <a:cubicBezTo>
                  <a:pt x="141" y="47"/>
                  <a:pt x="141" y="48"/>
                  <a:pt x="142" y="48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3" y="65"/>
                  <a:pt x="63" y="65"/>
                  <a:pt x="63" y="65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7" y="36"/>
                  <a:pt x="119" y="37"/>
                  <a:pt x="121" y="37"/>
                </a:cubicBezTo>
                <a:cubicBezTo>
                  <a:pt x="122" y="37"/>
                  <a:pt x="124" y="36"/>
                  <a:pt x="124" y="34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1"/>
                  <a:pt x="122" y="0"/>
                  <a:pt x="121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8" y="0"/>
                  <a:pt x="86" y="1"/>
                  <a:pt x="86" y="3"/>
                </a:cubicBezTo>
                <a:cubicBezTo>
                  <a:pt x="86" y="5"/>
                  <a:pt x="88" y="6"/>
                  <a:pt x="89" y="6"/>
                </a:cubicBezTo>
                <a:cubicBezTo>
                  <a:pt x="113" y="6"/>
                  <a:pt x="113" y="6"/>
                  <a:pt x="113" y="6"/>
                </a:cubicBezTo>
                <a:cubicBezTo>
                  <a:pt x="53" y="66"/>
                  <a:pt x="53" y="66"/>
                  <a:pt x="53" y="66"/>
                </a:cubicBezTo>
                <a:cubicBezTo>
                  <a:pt x="30" y="66"/>
                  <a:pt x="30" y="66"/>
                  <a:pt x="30" y="66"/>
                </a:cubicBezTo>
                <a:cubicBezTo>
                  <a:pt x="30" y="65"/>
                  <a:pt x="30" y="65"/>
                  <a:pt x="30" y="65"/>
                </a:cubicBezTo>
                <a:cubicBezTo>
                  <a:pt x="28" y="59"/>
                  <a:pt x="22" y="54"/>
                  <a:pt x="15" y="54"/>
                </a:cubicBezTo>
                <a:cubicBezTo>
                  <a:pt x="7" y="54"/>
                  <a:pt x="0" y="61"/>
                  <a:pt x="0" y="69"/>
                </a:cubicBezTo>
                <a:cubicBezTo>
                  <a:pt x="0" y="77"/>
                  <a:pt x="7" y="84"/>
                  <a:pt x="15" y="84"/>
                </a:cubicBezTo>
                <a:cubicBezTo>
                  <a:pt x="22" y="84"/>
                  <a:pt x="28" y="79"/>
                  <a:pt x="30" y="73"/>
                </a:cubicBezTo>
                <a:cubicBezTo>
                  <a:pt x="30" y="72"/>
                  <a:pt x="30" y="72"/>
                  <a:pt x="30" y="72"/>
                </a:cubicBezTo>
                <a:cubicBezTo>
                  <a:pt x="53" y="72"/>
                  <a:pt x="53" y="72"/>
                  <a:pt x="53" y="72"/>
                </a:cubicBezTo>
                <a:cubicBezTo>
                  <a:pt x="53" y="73"/>
                  <a:pt x="53" y="73"/>
                  <a:pt x="53" y="73"/>
                </a:cubicBezTo>
                <a:cubicBezTo>
                  <a:pt x="113" y="132"/>
                  <a:pt x="113" y="132"/>
                  <a:pt x="113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8" y="132"/>
                  <a:pt x="86" y="133"/>
                  <a:pt x="86" y="135"/>
                </a:cubicBezTo>
                <a:cubicBezTo>
                  <a:pt x="86" y="137"/>
                  <a:pt x="88" y="138"/>
                  <a:pt x="89" y="13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22" y="138"/>
                  <a:pt x="124" y="137"/>
                  <a:pt x="124" y="135"/>
                </a:cubicBezTo>
                <a:cubicBezTo>
                  <a:pt x="124" y="104"/>
                  <a:pt x="124" y="104"/>
                  <a:pt x="124" y="104"/>
                </a:cubicBezTo>
                <a:cubicBezTo>
                  <a:pt x="124" y="102"/>
                  <a:pt x="122" y="101"/>
                  <a:pt x="121" y="101"/>
                </a:cubicBezTo>
                <a:cubicBezTo>
                  <a:pt x="119" y="101"/>
                  <a:pt x="117" y="102"/>
                  <a:pt x="117" y="104"/>
                </a:cubicBezTo>
                <a:cubicBezTo>
                  <a:pt x="117" y="127"/>
                  <a:pt x="117" y="127"/>
                  <a:pt x="117" y="127"/>
                </a:cubicBezTo>
                <a:cubicBezTo>
                  <a:pt x="62" y="72"/>
                  <a:pt x="62" y="72"/>
                  <a:pt x="62" y="72"/>
                </a:cubicBezTo>
                <a:cubicBezTo>
                  <a:pt x="159" y="72"/>
                  <a:pt x="159" y="72"/>
                  <a:pt x="159" y="72"/>
                </a:cubicBezTo>
                <a:cubicBezTo>
                  <a:pt x="142" y="90"/>
                  <a:pt x="142" y="90"/>
                  <a:pt x="142" y="90"/>
                </a:cubicBezTo>
                <a:cubicBezTo>
                  <a:pt x="141" y="91"/>
                  <a:pt x="141" y="91"/>
                  <a:pt x="141" y="92"/>
                </a:cubicBezTo>
                <a:cubicBezTo>
                  <a:pt x="141" y="94"/>
                  <a:pt x="142" y="96"/>
                  <a:pt x="144" y="96"/>
                </a:cubicBezTo>
                <a:cubicBezTo>
                  <a:pt x="145" y="96"/>
                  <a:pt x="146" y="95"/>
                  <a:pt x="146" y="95"/>
                </a:cubicBezTo>
                <a:cubicBezTo>
                  <a:pt x="170" y="71"/>
                  <a:pt x="170" y="71"/>
                  <a:pt x="170" y="71"/>
                </a:cubicBezTo>
                <a:cubicBezTo>
                  <a:pt x="170" y="71"/>
                  <a:pt x="171" y="70"/>
                  <a:pt x="171" y="69"/>
                </a:cubicBezTo>
                <a:cubicBezTo>
                  <a:pt x="171" y="68"/>
                  <a:pt x="170" y="67"/>
                  <a:pt x="170" y="67"/>
                </a:cubicBezTo>
                <a:close/>
                <a:moveTo>
                  <a:pt x="15" y="77"/>
                </a:moveTo>
                <a:cubicBezTo>
                  <a:pt x="11" y="77"/>
                  <a:pt x="7" y="74"/>
                  <a:pt x="7" y="69"/>
                </a:cubicBezTo>
                <a:cubicBezTo>
                  <a:pt x="7" y="64"/>
                  <a:pt x="11" y="61"/>
                  <a:pt x="15" y="61"/>
                </a:cubicBezTo>
                <a:cubicBezTo>
                  <a:pt x="20" y="61"/>
                  <a:pt x="24" y="64"/>
                  <a:pt x="24" y="69"/>
                </a:cubicBezTo>
                <a:cubicBezTo>
                  <a:pt x="24" y="74"/>
                  <a:pt x="20" y="77"/>
                  <a:pt x="15" y="7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82" name="Freeform 8">
            <a:extLst>
              <a:ext uri="{FF2B5EF4-FFF2-40B4-BE49-F238E27FC236}">
                <a16:creationId xmlns:a16="http://schemas.microsoft.com/office/drawing/2014/main" id="{7C7AF257-D1C3-DFBD-9F0C-E42DFE256CF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437401" y="2230196"/>
            <a:ext cx="241225" cy="163832"/>
          </a:xfrm>
          <a:custGeom>
            <a:avLst/>
            <a:gdLst>
              <a:gd name="T0" fmla="*/ 170 w 171"/>
              <a:gd name="T1" fmla="*/ 67 h 138"/>
              <a:gd name="T2" fmla="*/ 146 w 171"/>
              <a:gd name="T3" fmla="*/ 43 h 138"/>
              <a:gd name="T4" fmla="*/ 144 w 171"/>
              <a:gd name="T5" fmla="*/ 43 h 138"/>
              <a:gd name="T6" fmla="*/ 141 w 171"/>
              <a:gd name="T7" fmla="*/ 46 h 138"/>
              <a:gd name="T8" fmla="*/ 142 w 171"/>
              <a:gd name="T9" fmla="*/ 48 h 138"/>
              <a:gd name="T10" fmla="*/ 159 w 171"/>
              <a:gd name="T11" fmla="*/ 66 h 138"/>
              <a:gd name="T12" fmla="*/ 62 w 171"/>
              <a:gd name="T13" fmla="*/ 66 h 138"/>
              <a:gd name="T14" fmla="*/ 63 w 171"/>
              <a:gd name="T15" fmla="*/ 65 h 138"/>
              <a:gd name="T16" fmla="*/ 117 w 171"/>
              <a:gd name="T17" fmla="*/ 11 h 138"/>
              <a:gd name="T18" fmla="*/ 117 w 171"/>
              <a:gd name="T19" fmla="*/ 34 h 138"/>
              <a:gd name="T20" fmla="*/ 121 w 171"/>
              <a:gd name="T21" fmla="*/ 37 h 138"/>
              <a:gd name="T22" fmla="*/ 124 w 171"/>
              <a:gd name="T23" fmla="*/ 34 h 138"/>
              <a:gd name="T24" fmla="*/ 124 w 171"/>
              <a:gd name="T25" fmla="*/ 3 h 138"/>
              <a:gd name="T26" fmla="*/ 121 w 171"/>
              <a:gd name="T27" fmla="*/ 0 h 138"/>
              <a:gd name="T28" fmla="*/ 89 w 171"/>
              <a:gd name="T29" fmla="*/ 0 h 138"/>
              <a:gd name="T30" fmla="*/ 86 w 171"/>
              <a:gd name="T31" fmla="*/ 3 h 138"/>
              <a:gd name="T32" fmla="*/ 89 w 171"/>
              <a:gd name="T33" fmla="*/ 6 h 138"/>
              <a:gd name="T34" fmla="*/ 113 w 171"/>
              <a:gd name="T35" fmla="*/ 6 h 138"/>
              <a:gd name="T36" fmla="*/ 53 w 171"/>
              <a:gd name="T37" fmla="*/ 66 h 138"/>
              <a:gd name="T38" fmla="*/ 30 w 171"/>
              <a:gd name="T39" fmla="*/ 66 h 138"/>
              <a:gd name="T40" fmla="*/ 30 w 171"/>
              <a:gd name="T41" fmla="*/ 65 h 138"/>
              <a:gd name="T42" fmla="*/ 15 w 171"/>
              <a:gd name="T43" fmla="*/ 54 h 138"/>
              <a:gd name="T44" fmla="*/ 0 w 171"/>
              <a:gd name="T45" fmla="*/ 69 h 138"/>
              <a:gd name="T46" fmla="*/ 15 w 171"/>
              <a:gd name="T47" fmla="*/ 84 h 138"/>
              <a:gd name="T48" fmla="*/ 30 w 171"/>
              <a:gd name="T49" fmla="*/ 73 h 138"/>
              <a:gd name="T50" fmla="*/ 30 w 171"/>
              <a:gd name="T51" fmla="*/ 72 h 138"/>
              <a:gd name="T52" fmla="*/ 53 w 171"/>
              <a:gd name="T53" fmla="*/ 72 h 138"/>
              <a:gd name="T54" fmla="*/ 53 w 171"/>
              <a:gd name="T55" fmla="*/ 73 h 138"/>
              <a:gd name="T56" fmla="*/ 113 w 171"/>
              <a:gd name="T57" fmla="*/ 132 h 138"/>
              <a:gd name="T58" fmla="*/ 89 w 171"/>
              <a:gd name="T59" fmla="*/ 132 h 138"/>
              <a:gd name="T60" fmla="*/ 86 w 171"/>
              <a:gd name="T61" fmla="*/ 135 h 138"/>
              <a:gd name="T62" fmla="*/ 89 w 171"/>
              <a:gd name="T63" fmla="*/ 138 h 138"/>
              <a:gd name="T64" fmla="*/ 121 w 171"/>
              <a:gd name="T65" fmla="*/ 138 h 138"/>
              <a:gd name="T66" fmla="*/ 124 w 171"/>
              <a:gd name="T67" fmla="*/ 135 h 138"/>
              <a:gd name="T68" fmla="*/ 124 w 171"/>
              <a:gd name="T69" fmla="*/ 104 h 138"/>
              <a:gd name="T70" fmla="*/ 121 w 171"/>
              <a:gd name="T71" fmla="*/ 101 h 138"/>
              <a:gd name="T72" fmla="*/ 117 w 171"/>
              <a:gd name="T73" fmla="*/ 104 h 138"/>
              <a:gd name="T74" fmla="*/ 117 w 171"/>
              <a:gd name="T75" fmla="*/ 127 h 138"/>
              <a:gd name="T76" fmla="*/ 62 w 171"/>
              <a:gd name="T77" fmla="*/ 72 h 138"/>
              <a:gd name="T78" fmla="*/ 159 w 171"/>
              <a:gd name="T79" fmla="*/ 72 h 138"/>
              <a:gd name="T80" fmla="*/ 142 w 171"/>
              <a:gd name="T81" fmla="*/ 90 h 138"/>
              <a:gd name="T82" fmla="*/ 141 w 171"/>
              <a:gd name="T83" fmla="*/ 92 h 138"/>
              <a:gd name="T84" fmla="*/ 144 w 171"/>
              <a:gd name="T85" fmla="*/ 96 h 138"/>
              <a:gd name="T86" fmla="*/ 146 w 171"/>
              <a:gd name="T87" fmla="*/ 95 h 138"/>
              <a:gd name="T88" fmla="*/ 170 w 171"/>
              <a:gd name="T89" fmla="*/ 71 h 138"/>
              <a:gd name="T90" fmla="*/ 171 w 171"/>
              <a:gd name="T91" fmla="*/ 69 h 138"/>
              <a:gd name="T92" fmla="*/ 170 w 171"/>
              <a:gd name="T93" fmla="*/ 67 h 138"/>
              <a:gd name="T94" fmla="*/ 15 w 171"/>
              <a:gd name="T95" fmla="*/ 77 h 138"/>
              <a:gd name="T96" fmla="*/ 7 w 171"/>
              <a:gd name="T97" fmla="*/ 69 h 138"/>
              <a:gd name="T98" fmla="*/ 15 w 171"/>
              <a:gd name="T99" fmla="*/ 61 h 138"/>
              <a:gd name="T100" fmla="*/ 24 w 171"/>
              <a:gd name="T101" fmla="*/ 69 h 138"/>
              <a:gd name="T102" fmla="*/ 15 w 171"/>
              <a:gd name="T103" fmla="*/ 7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1" h="138">
                <a:moveTo>
                  <a:pt x="170" y="67"/>
                </a:moveTo>
                <a:cubicBezTo>
                  <a:pt x="146" y="43"/>
                  <a:pt x="146" y="43"/>
                  <a:pt x="146" y="43"/>
                </a:cubicBezTo>
                <a:cubicBezTo>
                  <a:pt x="146" y="43"/>
                  <a:pt x="145" y="43"/>
                  <a:pt x="144" y="43"/>
                </a:cubicBezTo>
                <a:cubicBezTo>
                  <a:pt x="142" y="43"/>
                  <a:pt x="141" y="44"/>
                  <a:pt x="141" y="46"/>
                </a:cubicBezTo>
                <a:cubicBezTo>
                  <a:pt x="141" y="47"/>
                  <a:pt x="141" y="48"/>
                  <a:pt x="142" y="48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3" y="65"/>
                  <a:pt x="63" y="65"/>
                  <a:pt x="63" y="65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7" y="36"/>
                  <a:pt x="119" y="37"/>
                  <a:pt x="121" y="37"/>
                </a:cubicBezTo>
                <a:cubicBezTo>
                  <a:pt x="122" y="37"/>
                  <a:pt x="124" y="36"/>
                  <a:pt x="124" y="34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1"/>
                  <a:pt x="122" y="0"/>
                  <a:pt x="121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8" y="0"/>
                  <a:pt x="86" y="1"/>
                  <a:pt x="86" y="3"/>
                </a:cubicBezTo>
                <a:cubicBezTo>
                  <a:pt x="86" y="5"/>
                  <a:pt x="88" y="6"/>
                  <a:pt x="89" y="6"/>
                </a:cubicBezTo>
                <a:cubicBezTo>
                  <a:pt x="113" y="6"/>
                  <a:pt x="113" y="6"/>
                  <a:pt x="113" y="6"/>
                </a:cubicBezTo>
                <a:cubicBezTo>
                  <a:pt x="53" y="66"/>
                  <a:pt x="53" y="66"/>
                  <a:pt x="53" y="66"/>
                </a:cubicBezTo>
                <a:cubicBezTo>
                  <a:pt x="30" y="66"/>
                  <a:pt x="30" y="66"/>
                  <a:pt x="30" y="66"/>
                </a:cubicBezTo>
                <a:cubicBezTo>
                  <a:pt x="30" y="65"/>
                  <a:pt x="30" y="65"/>
                  <a:pt x="30" y="65"/>
                </a:cubicBezTo>
                <a:cubicBezTo>
                  <a:pt x="28" y="59"/>
                  <a:pt x="22" y="54"/>
                  <a:pt x="15" y="54"/>
                </a:cubicBezTo>
                <a:cubicBezTo>
                  <a:pt x="7" y="54"/>
                  <a:pt x="0" y="61"/>
                  <a:pt x="0" y="69"/>
                </a:cubicBezTo>
                <a:cubicBezTo>
                  <a:pt x="0" y="77"/>
                  <a:pt x="7" y="84"/>
                  <a:pt x="15" y="84"/>
                </a:cubicBezTo>
                <a:cubicBezTo>
                  <a:pt x="22" y="84"/>
                  <a:pt x="28" y="79"/>
                  <a:pt x="30" y="73"/>
                </a:cubicBezTo>
                <a:cubicBezTo>
                  <a:pt x="30" y="72"/>
                  <a:pt x="30" y="72"/>
                  <a:pt x="30" y="72"/>
                </a:cubicBezTo>
                <a:cubicBezTo>
                  <a:pt x="53" y="72"/>
                  <a:pt x="53" y="72"/>
                  <a:pt x="53" y="72"/>
                </a:cubicBezTo>
                <a:cubicBezTo>
                  <a:pt x="53" y="73"/>
                  <a:pt x="53" y="73"/>
                  <a:pt x="53" y="73"/>
                </a:cubicBezTo>
                <a:cubicBezTo>
                  <a:pt x="113" y="132"/>
                  <a:pt x="113" y="132"/>
                  <a:pt x="113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8" y="132"/>
                  <a:pt x="86" y="133"/>
                  <a:pt x="86" y="135"/>
                </a:cubicBezTo>
                <a:cubicBezTo>
                  <a:pt x="86" y="137"/>
                  <a:pt x="88" y="138"/>
                  <a:pt x="89" y="13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22" y="138"/>
                  <a:pt x="124" y="137"/>
                  <a:pt x="124" y="135"/>
                </a:cubicBezTo>
                <a:cubicBezTo>
                  <a:pt x="124" y="104"/>
                  <a:pt x="124" y="104"/>
                  <a:pt x="124" y="104"/>
                </a:cubicBezTo>
                <a:cubicBezTo>
                  <a:pt x="124" y="102"/>
                  <a:pt x="122" y="101"/>
                  <a:pt x="121" y="101"/>
                </a:cubicBezTo>
                <a:cubicBezTo>
                  <a:pt x="119" y="101"/>
                  <a:pt x="117" y="102"/>
                  <a:pt x="117" y="104"/>
                </a:cubicBezTo>
                <a:cubicBezTo>
                  <a:pt x="117" y="127"/>
                  <a:pt x="117" y="127"/>
                  <a:pt x="117" y="127"/>
                </a:cubicBezTo>
                <a:cubicBezTo>
                  <a:pt x="62" y="72"/>
                  <a:pt x="62" y="72"/>
                  <a:pt x="62" y="72"/>
                </a:cubicBezTo>
                <a:cubicBezTo>
                  <a:pt x="159" y="72"/>
                  <a:pt x="159" y="72"/>
                  <a:pt x="159" y="72"/>
                </a:cubicBezTo>
                <a:cubicBezTo>
                  <a:pt x="142" y="90"/>
                  <a:pt x="142" y="90"/>
                  <a:pt x="142" y="90"/>
                </a:cubicBezTo>
                <a:cubicBezTo>
                  <a:pt x="141" y="91"/>
                  <a:pt x="141" y="91"/>
                  <a:pt x="141" y="92"/>
                </a:cubicBezTo>
                <a:cubicBezTo>
                  <a:pt x="141" y="94"/>
                  <a:pt x="142" y="96"/>
                  <a:pt x="144" y="96"/>
                </a:cubicBezTo>
                <a:cubicBezTo>
                  <a:pt x="145" y="96"/>
                  <a:pt x="146" y="95"/>
                  <a:pt x="146" y="95"/>
                </a:cubicBezTo>
                <a:cubicBezTo>
                  <a:pt x="170" y="71"/>
                  <a:pt x="170" y="71"/>
                  <a:pt x="170" y="71"/>
                </a:cubicBezTo>
                <a:cubicBezTo>
                  <a:pt x="170" y="71"/>
                  <a:pt x="171" y="70"/>
                  <a:pt x="171" y="69"/>
                </a:cubicBezTo>
                <a:cubicBezTo>
                  <a:pt x="171" y="68"/>
                  <a:pt x="170" y="67"/>
                  <a:pt x="170" y="67"/>
                </a:cubicBezTo>
                <a:close/>
                <a:moveTo>
                  <a:pt x="15" y="77"/>
                </a:moveTo>
                <a:cubicBezTo>
                  <a:pt x="11" y="77"/>
                  <a:pt x="7" y="74"/>
                  <a:pt x="7" y="69"/>
                </a:cubicBezTo>
                <a:cubicBezTo>
                  <a:pt x="7" y="64"/>
                  <a:pt x="11" y="61"/>
                  <a:pt x="15" y="61"/>
                </a:cubicBezTo>
                <a:cubicBezTo>
                  <a:pt x="20" y="61"/>
                  <a:pt x="24" y="64"/>
                  <a:pt x="24" y="69"/>
                </a:cubicBezTo>
                <a:cubicBezTo>
                  <a:pt x="24" y="74"/>
                  <a:pt x="20" y="77"/>
                  <a:pt x="15" y="7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83" name="Isosceles Triangle 182">
            <a:extLst>
              <a:ext uri="{FF2B5EF4-FFF2-40B4-BE49-F238E27FC236}">
                <a16:creationId xmlns:a16="http://schemas.microsoft.com/office/drawing/2014/main" id="{CD868A47-3BD8-39CD-7708-69A5005817B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/>
          <p:nvPr/>
        </p:nvSpPr>
        <p:spPr>
          <a:xfrm rot="5400000">
            <a:off x="2055794" y="2252784"/>
            <a:ext cx="150687" cy="146983"/>
          </a:xfrm>
          <a:prstGeom prst="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4" name="Freeform 8">
            <a:extLst>
              <a:ext uri="{FF2B5EF4-FFF2-40B4-BE49-F238E27FC236}">
                <a16:creationId xmlns:a16="http://schemas.microsoft.com/office/drawing/2014/main" id="{81F9B9BD-0F9B-99AB-D447-06E3AD087656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2284400" y="3931344"/>
            <a:ext cx="241225" cy="163832"/>
          </a:xfrm>
          <a:custGeom>
            <a:avLst/>
            <a:gdLst>
              <a:gd name="T0" fmla="*/ 170 w 171"/>
              <a:gd name="T1" fmla="*/ 67 h 138"/>
              <a:gd name="T2" fmla="*/ 146 w 171"/>
              <a:gd name="T3" fmla="*/ 43 h 138"/>
              <a:gd name="T4" fmla="*/ 144 w 171"/>
              <a:gd name="T5" fmla="*/ 43 h 138"/>
              <a:gd name="T6" fmla="*/ 141 w 171"/>
              <a:gd name="T7" fmla="*/ 46 h 138"/>
              <a:gd name="T8" fmla="*/ 142 w 171"/>
              <a:gd name="T9" fmla="*/ 48 h 138"/>
              <a:gd name="T10" fmla="*/ 159 w 171"/>
              <a:gd name="T11" fmla="*/ 66 h 138"/>
              <a:gd name="T12" fmla="*/ 62 w 171"/>
              <a:gd name="T13" fmla="*/ 66 h 138"/>
              <a:gd name="T14" fmla="*/ 63 w 171"/>
              <a:gd name="T15" fmla="*/ 65 h 138"/>
              <a:gd name="T16" fmla="*/ 117 w 171"/>
              <a:gd name="T17" fmla="*/ 11 h 138"/>
              <a:gd name="T18" fmla="*/ 117 w 171"/>
              <a:gd name="T19" fmla="*/ 34 h 138"/>
              <a:gd name="T20" fmla="*/ 121 w 171"/>
              <a:gd name="T21" fmla="*/ 37 h 138"/>
              <a:gd name="T22" fmla="*/ 124 w 171"/>
              <a:gd name="T23" fmla="*/ 34 h 138"/>
              <a:gd name="T24" fmla="*/ 124 w 171"/>
              <a:gd name="T25" fmla="*/ 3 h 138"/>
              <a:gd name="T26" fmla="*/ 121 w 171"/>
              <a:gd name="T27" fmla="*/ 0 h 138"/>
              <a:gd name="T28" fmla="*/ 89 w 171"/>
              <a:gd name="T29" fmla="*/ 0 h 138"/>
              <a:gd name="T30" fmla="*/ 86 w 171"/>
              <a:gd name="T31" fmla="*/ 3 h 138"/>
              <a:gd name="T32" fmla="*/ 89 w 171"/>
              <a:gd name="T33" fmla="*/ 6 h 138"/>
              <a:gd name="T34" fmla="*/ 113 w 171"/>
              <a:gd name="T35" fmla="*/ 6 h 138"/>
              <a:gd name="T36" fmla="*/ 53 w 171"/>
              <a:gd name="T37" fmla="*/ 66 h 138"/>
              <a:gd name="T38" fmla="*/ 30 w 171"/>
              <a:gd name="T39" fmla="*/ 66 h 138"/>
              <a:gd name="T40" fmla="*/ 30 w 171"/>
              <a:gd name="T41" fmla="*/ 65 h 138"/>
              <a:gd name="T42" fmla="*/ 15 w 171"/>
              <a:gd name="T43" fmla="*/ 54 h 138"/>
              <a:gd name="T44" fmla="*/ 0 w 171"/>
              <a:gd name="T45" fmla="*/ 69 h 138"/>
              <a:gd name="T46" fmla="*/ 15 w 171"/>
              <a:gd name="T47" fmla="*/ 84 h 138"/>
              <a:gd name="T48" fmla="*/ 30 w 171"/>
              <a:gd name="T49" fmla="*/ 73 h 138"/>
              <a:gd name="T50" fmla="*/ 30 w 171"/>
              <a:gd name="T51" fmla="*/ 72 h 138"/>
              <a:gd name="T52" fmla="*/ 53 w 171"/>
              <a:gd name="T53" fmla="*/ 72 h 138"/>
              <a:gd name="T54" fmla="*/ 53 w 171"/>
              <a:gd name="T55" fmla="*/ 73 h 138"/>
              <a:gd name="T56" fmla="*/ 113 w 171"/>
              <a:gd name="T57" fmla="*/ 132 h 138"/>
              <a:gd name="T58" fmla="*/ 89 w 171"/>
              <a:gd name="T59" fmla="*/ 132 h 138"/>
              <a:gd name="T60" fmla="*/ 86 w 171"/>
              <a:gd name="T61" fmla="*/ 135 h 138"/>
              <a:gd name="T62" fmla="*/ 89 w 171"/>
              <a:gd name="T63" fmla="*/ 138 h 138"/>
              <a:gd name="T64" fmla="*/ 121 w 171"/>
              <a:gd name="T65" fmla="*/ 138 h 138"/>
              <a:gd name="T66" fmla="*/ 124 w 171"/>
              <a:gd name="T67" fmla="*/ 135 h 138"/>
              <a:gd name="T68" fmla="*/ 124 w 171"/>
              <a:gd name="T69" fmla="*/ 104 h 138"/>
              <a:gd name="T70" fmla="*/ 121 w 171"/>
              <a:gd name="T71" fmla="*/ 101 h 138"/>
              <a:gd name="T72" fmla="*/ 117 w 171"/>
              <a:gd name="T73" fmla="*/ 104 h 138"/>
              <a:gd name="T74" fmla="*/ 117 w 171"/>
              <a:gd name="T75" fmla="*/ 127 h 138"/>
              <a:gd name="T76" fmla="*/ 62 w 171"/>
              <a:gd name="T77" fmla="*/ 72 h 138"/>
              <a:gd name="T78" fmla="*/ 159 w 171"/>
              <a:gd name="T79" fmla="*/ 72 h 138"/>
              <a:gd name="T80" fmla="*/ 142 w 171"/>
              <a:gd name="T81" fmla="*/ 90 h 138"/>
              <a:gd name="T82" fmla="*/ 141 w 171"/>
              <a:gd name="T83" fmla="*/ 92 h 138"/>
              <a:gd name="T84" fmla="*/ 144 w 171"/>
              <a:gd name="T85" fmla="*/ 96 h 138"/>
              <a:gd name="T86" fmla="*/ 146 w 171"/>
              <a:gd name="T87" fmla="*/ 95 h 138"/>
              <a:gd name="T88" fmla="*/ 170 w 171"/>
              <a:gd name="T89" fmla="*/ 71 h 138"/>
              <a:gd name="T90" fmla="*/ 171 w 171"/>
              <a:gd name="T91" fmla="*/ 69 h 138"/>
              <a:gd name="T92" fmla="*/ 170 w 171"/>
              <a:gd name="T93" fmla="*/ 67 h 138"/>
              <a:gd name="T94" fmla="*/ 15 w 171"/>
              <a:gd name="T95" fmla="*/ 77 h 138"/>
              <a:gd name="T96" fmla="*/ 7 w 171"/>
              <a:gd name="T97" fmla="*/ 69 h 138"/>
              <a:gd name="T98" fmla="*/ 15 w 171"/>
              <a:gd name="T99" fmla="*/ 61 h 138"/>
              <a:gd name="T100" fmla="*/ 24 w 171"/>
              <a:gd name="T101" fmla="*/ 69 h 138"/>
              <a:gd name="T102" fmla="*/ 15 w 171"/>
              <a:gd name="T103" fmla="*/ 77 h 13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171" h="138">
                <a:moveTo>
                  <a:pt x="170" y="67"/>
                </a:moveTo>
                <a:cubicBezTo>
                  <a:pt x="146" y="43"/>
                  <a:pt x="146" y="43"/>
                  <a:pt x="146" y="43"/>
                </a:cubicBezTo>
                <a:cubicBezTo>
                  <a:pt x="146" y="43"/>
                  <a:pt x="145" y="43"/>
                  <a:pt x="144" y="43"/>
                </a:cubicBezTo>
                <a:cubicBezTo>
                  <a:pt x="142" y="43"/>
                  <a:pt x="141" y="44"/>
                  <a:pt x="141" y="46"/>
                </a:cubicBezTo>
                <a:cubicBezTo>
                  <a:pt x="141" y="47"/>
                  <a:pt x="141" y="48"/>
                  <a:pt x="142" y="48"/>
                </a:cubicBezTo>
                <a:cubicBezTo>
                  <a:pt x="159" y="66"/>
                  <a:pt x="159" y="66"/>
                  <a:pt x="159" y="66"/>
                </a:cubicBezTo>
                <a:cubicBezTo>
                  <a:pt x="62" y="66"/>
                  <a:pt x="62" y="66"/>
                  <a:pt x="62" y="66"/>
                </a:cubicBezTo>
                <a:cubicBezTo>
                  <a:pt x="63" y="65"/>
                  <a:pt x="63" y="65"/>
                  <a:pt x="63" y="65"/>
                </a:cubicBezTo>
                <a:cubicBezTo>
                  <a:pt x="117" y="11"/>
                  <a:pt x="117" y="11"/>
                  <a:pt x="117" y="11"/>
                </a:cubicBezTo>
                <a:cubicBezTo>
                  <a:pt x="117" y="34"/>
                  <a:pt x="117" y="34"/>
                  <a:pt x="117" y="34"/>
                </a:cubicBezTo>
                <a:cubicBezTo>
                  <a:pt x="117" y="36"/>
                  <a:pt x="119" y="37"/>
                  <a:pt x="121" y="37"/>
                </a:cubicBezTo>
                <a:cubicBezTo>
                  <a:pt x="122" y="37"/>
                  <a:pt x="124" y="36"/>
                  <a:pt x="124" y="34"/>
                </a:cubicBezTo>
                <a:cubicBezTo>
                  <a:pt x="124" y="3"/>
                  <a:pt x="124" y="3"/>
                  <a:pt x="124" y="3"/>
                </a:cubicBezTo>
                <a:cubicBezTo>
                  <a:pt x="124" y="1"/>
                  <a:pt x="122" y="0"/>
                  <a:pt x="121" y="0"/>
                </a:cubicBezTo>
                <a:cubicBezTo>
                  <a:pt x="89" y="0"/>
                  <a:pt x="89" y="0"/>
                  <a:pt x="89" y="0"/>
                </a:cubicBezTo>
                <a:cubicBezTo>
                  <a:pt x="88" y="0"/>
                  <a:pt x="86" y="1"/>
                  <a:pt x="86" y="3"/>
                </a:cubicBezTo>
                <a:cubicBezTo>
                  <a:pt x="86" y="5"/>
                  <a:pt x="88" y="6"/>
                  <a:pt x="89" y="6"/>
                </a:cubicBezTo>
                <a:cubicBezTo>
                  <a:pt x="113" y="6"/>
                  <a:pt x="113" y="6"/>
                  <a:pt x="113" y="6"/>
                </a:cubicBezTo>
                <a:cubicBezTo>
                  <a:pt x="53" y="66"/>
                  <a:pt x="53" y="66"/>
                  <a:pt x="53" y="66"/>
                </a:cubicBezTo>
                <a:cubicBezTo>
                  <a:pt x="30" y="66"/>
                  <a:pt x="30" y="66"/>
                  <a:pt x="30" y="66"/>
                </a:cubicBezTo>
                <a:cubicBezTo>
                  <a:pt x="30" y="65"/>
                  <a:pt x="30" y="65"/>
                  <a:pt x="30" y="65"/>
                </a:cubicBezTo>
                <a:cubicBezTo>
                  <a:pt x="28" y="59"/>
                  <a:pt x="22" y="54"/>
                  <a:pt x="15" y="54"/>
                </a:cubicBezTo>
                <a:cubicBezTo>
                  <a:pt x="7" y="54"/>
                  <a:pt x="0" y="61"/>
                  <a:pt x="0" y="69"/>
                </a:cubicBezTo>
                <a:cubicBezTo>
                  <a:pt x="0" y="77"/>
                  <a:pt x="7" y="84"/>
                  <a:pt x="15" y="84"/>
                </a:cubicBezTo>
                <a:cubicBezTo>
                  <a:pt x="22" y="84"/>
                  <a:pt x="28" y="79"/>
                  <a:pt x="30" y="73"/>
                </a:cubicBezTo>
                <a:cubicBezTo>
                  <a:pt x="30" y="72"/>
                  <a:pt x="30" y="72"/>
                  <a:pt x="30" y="72"/>
                </a:cubicBezTo>
                <a:cubicBezTo>
                  <a:pt x="53" y="72"/>
                  <a:pt x="53" y="72"/>
                  <a:pt x="53" y="72"/>
                </a:cubicBezTo>
                <a:cubicBezTo>
                  <a:pt x="53" y="73"/>
                  <a:pt x="53" y="73"/>
                  <a:pt x="53" y="73"/>
                </a:cubicBezTo>
                <a:cubicBezTo>
                  <a:pt x="113" y="132"/>
                  <a:pt x="113" y="132"/>
                  <a:pt x="113" y="132"/>
                </a:cubicBezTo>
                <a:cubicBezTo>
                  <a:pt x="89" y="132"/>
                  <a:pt x="89" y="132"/>
                  <a:pt x="89" y="132"/>
                </a:cubicBezTo>
                <a:cubicBezTo>
                  <a:pt x="88" y="132"/>
                  <a:pt x="86" y="133"/>
                  <a:pt x="86" y="135"/>
                </a:cubicBezTo>
                <a:cubicBezTo>
                  <a:pt x="86" y="137"/>
                  <a:pt x="88" y="138"/>
                  <a:pt x="89" y="138"/>
                </a:cubicBezTo>
                <a:cubicBezTo>
                  <a:pt x="121" y="138"/>
                  <a:pt x="121" y="138"/>
                  <a:pt x="121" y="138"/>
                </a:cubicBezTo>
                <a:cubicBezTo>
                  <a:pt x="122" y="138"/>
                  <a:pt x="124" y="137"/>
                  <a:pt x="124" y="135"/>
                </a:cubicBezTo>
                <a:cubicBezTo>
                  <a:pt x="124" y="104"/>
                  <a:pt x="124" y="104"/>
                  <a:pt x="124" y="104"/>
                </a:cubicBezTo>
                <a:cubicBezTo>
                  <a:pt x="124" y="102"/>
                  <a:pt x="122" y="101"/>
                  <a:pt x="121" y="101"/>
                </a:cubicBezTo>
                <a:cubicBezTo>
                  <a:pt x="119" y="101"/>
                  <a:pt x="117" y="102"/>
                  <a:pt x="117" y="104"/>
                </a:cubicBezTo>
                <a:cubicBezTo>
                  <a:pt x="117" y="127"/>
                  <a:pt x="117" y="127"/>
                  <a:pt x="117" y="127"/>
                </a:cubicBezTo>
                <a:cubicBezTo>
                  <a:pt x="62" y="72"/>
                  <a:pt x="62" y="72"/>
                  <a:pt x="62" y="72"/>
                </a:cubicBezTo>
                <a:cubicBezTo>
                  <a:pt x="159" y="72"/>
                  <a:pt x="159" y="72"/>
                  <a:pt x="159" y="72"/>
                </a:cubicBezTo>
                <a:cubicBezTo>
                  <a:pt x="142" y="90"/>
                  <a:pt x="142" y="90"/>
                  <a:pt x="142" y="90"/>
                </a:cubicBezTo>
                <a:cubicBezTo>
                  <a:pt x="141" y="91"/>
                  <a:pt x="141" y="91"/>
                  <a:pt x="141" y="92"/>
                </a:cubicBezTo>
                <a:cubicBezTo>
                  <a:pt x="141" y="94"/>
                  <a:pt x="142" y="96"/>
                  <a:pt x="144" y="96"/>
                </a:cubicBezTo>
                <a:cubicBezTo>
                  <a:pt x="145" y="96"/>
                  <a:pt x="146" y="95"/>
                  <a:pt x="146" y="95"/>
                </a:cubicBezTo>
                <a:cubicBezTo>
                  <a:pt x="170" y="71"/>
                  <a:pt x="170" y="71"/>
                  <a:pt x="170" y="71"/>
                </a:cubicBezTo>
                <a:cubicBezTo>
                  <a:pt x="170" y="71"/>
                  <a:pt x="171" y="70"/>
                  <a:pt x="171" y="69"/>
                </a:cubicBezTo>
                <a:cubicBezTo>
                  <a:pt x="171" y="68"/>
                  <a:pt x="170" y="67"/>
                  <a:pt x="170" y="67"/>
                </a:cubicBezTo>
                <a:close/>
                <a:moveTo>
                  <a:pt x="15" y="77"/>
                </a:moveTo>
                <a:cubicBezTo>
                  <a:pt x="11" y="77"/>
                  <a:pt x="7" y="74"/>
                  <a:pt x="7" y="69"/>
                </a:cubicBezTo>
                <a:cubicBezTo>
                  <a:pt x="7" y="64"/>
                  <a:pt x="11" y="61"/>
                  <a:pt x="15" y="61"/>
                </a:cubicBezTo>
                <a:cubicBezTo>
                  <a:pt x="20" y="61"/>
                  <a:pt x="24" y="64"/>
                  <a:pt x="24" y="69"/>
                </a:cubicBezTo>
                <a:cubicBezTo>
                  <a:pt x="24" y="74"/>
                  <a:pt x="20" y="77"/>
                  <a:pt x="15" y="77"/>
                </a:cubicBez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87" name="Freeform 9">
            <a:extLst>
              <a:ext uri="{FF2B5EF4-FFF2-40B4-BE49-F238E27FC236}">
                <a16:creationId xmlns:a16="http://schemas.microsoft.com/office/drawing/2014/main" id="{9B225A8E-AC2C-82F0-5370-44BD90FC3B51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3188216" y="2200321"/>
            <a:ext cx="241225" cy="206361"/>
          </a:xfrm>
          <a:custGeom>
            <a:avLst/>
            <a:gdLst>
              <a:gd name="T0" fmla="*/ 143 w 161"/>
              <a:gd name="T1" fmla="*/ 0 h 164"/>
              <a:gd name="T2" fmla="*/ 125 w 161"/>
              <a:gd name="T3" fmla="*/ 19 h 164"/>
              <a:gd name="T4" fmla="*/ 139 w 161"/>
              <a:gd name="T5" fmla="*/ 37 h 164"/>
              <a:gd name="T6" fmla="*/ 140 w 161"/>
              <a:gd name="T7" fmla="*/ 37 h 164"/>
              <a:gd name="T8" fmla="*/ 140 w 161"/>
              <a:gd name="T9" fmla="*/ 79 h 164"/>
              <a:gd name="T10" fmla="*/ 98 w 161"/>
              <a:gd name="T11" fmla="*/ 79 h 164"/>
              <a:gd name="T12" fmla="*/ 98 w 161"/>
              <a:gd name="T13" fmla="*/ 78 h 164"/>
              <a:gd name="T14" fmla="*/ 80 w 161"/>
              <a:gd name="T15" fmla="*/ 64 h 164"/>
              <a:gd name="T16" fmla="*/ 63 w 161"/>
              <a:gd name="T17" fmla="*/ 78 h 164"/>
              <a:gd name="T18" fmla="*/ 63 w 161"/>
              <a:gd name="T19" fmla="*/ 79 h 164"/>
              <a:gd name="T20" fmla="*/ 18 w 161"/>
              <a:gd name="T21" fmla="*/ 79 h 164"/>
              <a:gd name="T22" fmla="*/ 15 w 161"/>
              <a:gd name="T23" fmla="*/ 82 h 164"/>
              <a:gd name="T24" fmla="*/ 15 w 161"/>
              <a:gd name="T25" fmla="*/ 128 h 164"/>
              <a:gd name="T26" fmla="*/ 15 w 161"/>
              <a:gd name="T27" fmla="*/ 128 h 164"/>
              <a:gd name="T28" fmla="*/ 0 w 161"/>
              <a:gd name="T29" fmla="*/ 146 h 164"/>
              <a:gd name="T30" fmla="*/ 18 w 161"/>
              <a:gd name="T31" fmla="*/ 164 h 164"/>
              <a:gd name="T32" fmla="*/ 36 w 161"/>
              <a:gd name="T33" fmla="*/ 146 h 164"/>
              <a:gd name="T34" fmla="*/ 22 w 161"/>
              <a:gd name="T35" fmla="*/ 128 h 164"/>
              <a:gd name="T36" fmla="*/ 21 w 161"/>
              <a:gd name="T37" fmla="*/ 128 h 164"/>
              <a:gd name="T38" fmla="*/ 21 w 161"/>
              <a:gd name="T39" fmla="*/ 85 h 164"/>
              <a:gd name="T40" fmla="*/ 63 w 161"/>
              <a:gd name="T41" fmla="*/ 85 h 164"/>
              <a:gd name="T42" fmla="*/ 63 w 161"/>
              <a:gd name="T43" fmla="*/ 86 h 164"/>
              <a:gd name="T44" fmla="*/ 80 w 161"/>
              <a:gd name="T45" fmla="*/ 100 h 164"/>
              <a:gd name="T46" fmla="*/ 98 w 161"/>
              <a:gd name="T47" fmla="*/ 86 h 164"/>
              <a:gd name="T48" fmla="*/ 98 w 161"/>
              <a:gd name="T49" fmla="*/ 85 h 164"/>
              <a:gd name="T50" fmla="*/ 143 w 161"/>
              <a:gd name="T51" fmla="*/ 85 h 164"/>
              <a:gd name="T52" fmla="*/ 146 w 161"/>
              <a:gd name="T53" fmla="*/ 82 h 164"/>
              <a:gd name="T54" fmla="*/ 146 w 161"/>
              <a:gd name="T55" fmla="*/ 37 h 164"/>
              <a:gd name="T56" fmla="*/ 146 w 161"/>
              <a:gd name="T57" fmla="*/ 37 h 164"/>
              <a:gd name="T58" fmla="*/ 161 w 161"/>
              <a:gd name="T59" fmla="*/ 19 h 164"/>
              <a:gd name="T60" fmla="*/ 143 w 161"/>
              <a:gd name="T61" fmla="*/ 0 h 164"/>
              <a:gd name="T62" fmla="*/ 30 w 161"/>
              <a:gd name="T63" fmla="*/ 145 h 164"/>
              <a:gd name="T64" fmla="*/ 18 w 161"/>
              <a:gd name="T65" fmla="*/ 157 h 164"/>
              <a:gd name="T66" fmla="*/ 7 w 161"/>
              <a:gd name="T67" fmla="*/ 145 h 164"/>
              <a:gd name="T68" fmla="*/ 18 w 161"/>
              <a:gd name="T69" fmla="*/ 134 h 164"/>
              <a:gd name="T70" fmla="*/ 30 w 161"/>
              <a:gd name="T71" fmla="*/ 145 h 164"/>
              <a:gd name="T72" fmla="*/ 81 w 161"/>
              <a:gd name="T73" fmla="*/ 94 h 164"/>
              <a:gd name="T74" fmla="*/ 69 w 161"/>
              <a:gd name="T75" fmla="*/ 82 h 164"/>
              <a:gd name="T76" fmla="*/ 81 w 161"/>
              <a:gd name="T77" fmla="*/ 70 h 164"/>
              <a:gd name="T78" fmla="*/ 92 w 161"/>
              <a:gd name="T79" fmla="*/ 82 h 164"/>
              <a:gd name="T80" fmla="*/ 81 w 161"/>
              <a:gd name="T81" fmla="*/ 94 h 164"/>
              <a:gd name="T82" fmla="*/ 143 w 161"/>
              <a:gd name="T83" fmla="*/ 30 h 164"/>
              <a:gd name="T84" fmla="*/ 131 w 161"/>
              <a:gd name="T85" fmla="*/ 19 h 164"/>
              <a:gd name="T86" fmla="*/ 143 w 161"/>
              <a:gd name="T87" fmla="*/ 7 h 164"/>
              <a:gd name="T88" fmla="*/ 154 w 161"/>
              <a:gd name="T89" fmla="*/ 19 h 164"/>
              <a:gd name="T90" fmla="*/ 143 w 161"/>
              <a:gd name="T91" fmla="*/ 3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1" h="164">
                <a:moveTo>
                  <a:pt x="143" y="0"/>
                </a:moveTo>
                <a:cubicBezTo>
                  <a:pt x="133" y="0"/>
                  <a:pt x="125" y="9"/>
                  <a:pt x="125" y="19"/>
                </a:cubicBezTo>
                <a:cubicBezTo>
                  <a:pt x="125" y="27"/>
                  <a:pt x="131" y="35"/>
                  <a:pt x="139" y="37"/>
                </a:cubicBezTo>
                <a:cubicBezTo>
                  <a:pt x="140" y="37"/>
                  <a:pt x="140" y="37"/>
                  <a:pt x="140" y="37"/>
                </a:cubicBezTo>
                <a:cubicBezTo>
                  <a:pt x="140" y="79"/>
                  <a:pt x="140" y="79"/>
                  <a:pt x="140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98" y="78"/>
                  <a:pt x="98" y="78"/>
                  <a:pt x="98" y="78"/>
                </a:cubicBezTo>
                <a:cubicBezTo>
                  <a:pt x="96" y="70"/>
                  <a:pt x="89" y="64"/>
                  <a:pt x="80" y="64"/>
                </a:cubicBezTo>
                <a:cubicBezTo>
                  <a:pt x="72" y="64"/>
                  <a:pt x="65" y="70"/>
                  <a:pt x="63" y="78"/>
                </a:cubicBezTo>
                <a:cubicBezTo>
                  <a:pt x="63" y="79"/>
                  <a:pt x="63" y="79"/>
                  <a:pt x="63" y="79"/>
                </a:cubicBezTo>
                <a:cubicBezTo>
                  <a:pt x="18" y="79"/>
                  <a:pt x="18" y="79"/>
                  <a:pt x="18" y="79"/>
                </a:cubicBezTo>
                <a:cubicBezTo>
                  <a:pt x="16" y="79"/>
                  <a:pt x="15" y="80"/>
                  <a:pt x="15" y="82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6" y="129"/>
                  <a:pt x="0" y="137"/>
                  <a:pt x="0" y="146"/>
                </a:cubicBezTo>
                <a:cubicBezTo>
                  <a:pt x="0" y="156"/>
                  <a:pt x="8" y="164"/>
                  <a:pt x="18" y="164"/>
                </a:cubicBezTo>
                <a:cubicBezTo>
                  <a:pt x="28" y="164"/>
                  <a:pt x="36" y="156"/>
                  <a:pt x="36" y="146"/>
                </a:cubicBezTo>
                <a:cubicBezTo>
                  <a:pt x="36" y="137"/>
                  <a:pt x="30" y="129"/>
                  <a:pt x="22" y="128"/>
                </a:cubicBezTo>
                <a:cubicBezTo>
                  <a:pt x="21" y="128"/>
                  <a:pt x="21" y="128"/>
                  <a:pt x="21" y="128"/>
                </a:cubicBezTo>
                <a:cubicBezTo>
                  <a:pt x="21" y="85"/>
                  <a:pt x="21" y="85"/>
                  <a:pt x="21" y="85"/>
                </a:cubicBezTo>
                <a:cubicBezTo>
                  <a:pt x="63" y="85"/>
                  <a:pt x="63" y="85"/>
                  <a:pt x="63" y="85"/>
                </a:cubicBezTo>
                <a:cubicBezTo>
                  <a:pt x="63" y="86"/>
                  <a:pt x="63" y="86"/>
                  <a:pt x="63" y="86"/>
                </a:cubicBezTo>
                <a:cubicBezTo>
                  <a:pt x="65" y="94"/>
                  <a:pt x="72" y="100"/>
                  <a:pt x="80" y="100"/>
                </a:cubicBezTo>
                <a:cubicBezTo>
                  <a:pt x="89" y="100"/>
                  <a:pt x="96" y="94"/>
                  <a:pt x="98" y="86"/>
                </a:cubicBezTo>
                <a:cubicBezTo>
                  <a:pt x="98" y="85"/>
                  <a:pt x="98" y="85"/>
                  <a:pt x="98" y="85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5" y="85"/>
                  <a:pt x="146" y="84"/>
                  <a:pt x="146" y="82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55" y="35"/>
                  <a:pt x="161" y="27"/>
                  <a:pt x="161" y="19"/>
                </a:cubicBezTo>
                <a:cubicBezTo>
                  <a:pt x="161" y="9"/>
                  <a:pt x="153" y="0"/>
                  <a:pt x="143" y="0"/>
                </a:cubicBezTo>
                <a:close/>
                <a:moveTo>
                  <a:pt x="30" y="145"/>
                </a:moveTo>
                <a:cubicBezTo>
                  <a:pt x="30" y="152"/>
                  <a:pt x="24" y="157"/>
                  <a:pt x="18" y="157"/>
                </a:cubicBezTo>
                <a:cubicBezTo>
                  <a:pt x="12" y="157"/>
                  <a:pt x="7" y="152"/>
                  <a:pt x="7" y="145"/>
                </a:cubicBezTo>
                <a:cubicBezTo>
                  <a:pt x="7" y="139"/>
                  <a:pt x="12" y="134"/>
                  <a:pt x="18" y="134"/>
                </a:cubicBezTo>
                <a:cubicBezTo>
                  <a:pt x="24" y="134"/>
                  <a:pt x="30" y="139"/>
                  <a:pt x="30" y="145"/>
                </a:cubicBezTo>
                <a:close/>
                <a:moveTo>
                  <a:pt x="81" y="94"/>
                </a:moveTo>
                <a:cubicBezTo>
                  <a:pt x="74" y="94"/>
                  <a:pt x="69" y="88"/>
                  <a:pt x="69" y="82"/>
                </a:cubicBezTo>
                <a:cubicBezTo>
                  <a:pt x="69" y="76"/>
                  <a:pt x="74" y="70"/>
                  <a:pt x="81" y="70"/>
                </a:cubicBezTo>
                <a:cubicBezTo>
                  <a:pt x="87" y="70"/>
                  <a:pt x="92" y="76"/>
                  <a:pt x="92" y="82"/>
                </a:cubicBezTo>
                <a:cubicBezTo>
                  <a:pt x="92" y="88"/>
                  <a:pt x="87" y="94"/>
                  <a:pt x="81" y="94"/>
                </a:cubicBezTo>
                <a:close/>
                <a:moveTo>
                  <a:pt x="143" y="30"/>
                </a:moveTo>
                <a:cubicBezTo>
                  <a:pt x="137" y="30"/>
                  <a:pt x="131" y="25"/>
                  <a:pt x="131" y="19"/>
                </a:cubicBezTo>
                <a:cubicBezTo>
                  <a:pt x="131" y="12"/>
                  <a:pt x="137" y="7"/>
                  <a:pt x="143" y="7"/>
                </a:cubicBezTo>
                <a:cubicBezTo>
                  <a:pt x="149" y="7"/>
                  <a:pt x="154" y="12"/>
                  <a:pt x="154" y="19"/>
                </a:cubicBezTo>
                <a:cubicBezTo>
                  <a:pt x="154" y="25"/>
                  <a:pt x="149" y="30"/>
                  <a:pt x="143" y="3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88" name="Freeform 9">
            <a:extLst>
              <a:ext uri="{FF2B5EF4-FFF2-40B4-BE49-F238E27FC236}">
                <a16:creationId xmlns:a16="http://schemas.microsoft.com/office/drawing/2014/main" id="{22385ECC-5F39-EE79-E70A-9BC17AA10F2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4308303" y="3941372"/>
            <a:ext cx="241225" cy="206361"/>
          </a:xfrm>
          <a:custGeom>
            <a:avLst/>
            <a:gdLst>
              <a:gd name="T0" fmla="*/ 143 w 161"/>
              <a:gd name="T1" fmla="*/ 0 h 164"/>
              <a:gd name="T2" fmla="*/ 125 w 161"/>
              <a:gd name="T3" fmla="*/ 19 h 164"/>
              <a:gd name="T4" fmla="*/ 139 w 161"/>
              <a:gd name="T5" fmla="*/ 37 h 164"/>
              <a:gd name="T6" fmla="*/ 140 w 161"/>
              <a:gd name="T7" fmla="*/ 37 h 164"/>
              <a:gd name="T8" fmla="*/ 140 w 161"/>
              <a:gd name="T9" fmla="*/ 79 h 164"/>
              <a:gd name="T10" fmla="*/ 98 w 161"/>
              <a:gd name="T11" fmla="*/ 79 h 164"/>
              <a:gd name="T12" fmla="*/ 98 w 161"/>
              <a:gd name="T13" fmla="*/ 78 h 164"/>
              <a:gd name="T14" fmla="*/ 80 w 161"/>
              <a:gd name="T15" fmla="*/ 64 h 164"/>
              <a:gd name="T16" fmla="*/ 63 w 161"/>
              <a:gd name="T17" fmla="*/ 78 h 164"/>
              <a:gd name="T18" fmla="*/ 63 w 161"/>
              <a:gd name="T19" fmla="*/ 79 h 164"/>
              <a:gd name="T20" fmla="*/ 18 w 161"/>
              <a:gd name="T21" fmla="*/ 79 h 164"/>
              <a:gd name="T22" fmla="*/ 15 w 161"/>
              <a:gd name="T23" fmla="*/ 82 h 164"/>
              <a:gd name="T24" fmla="*/ 15 w 161"/>
              <a:gd name="T25" fmla="*/ 128 h 164"/>
              <a:gd name="T26" fmla="*/ 15 w 161"/>
              <a:gd name="T27" fmla="*/ 128 h 164"/>
              <a:gd name="T28" fmla="*/ 0 w 161"/>
              <a:gd name="T29" fmla="*/ 146 h 164"/>
              <a:gd name="T30" fmla="*/ 18 w 161"/>
              <a:gd name="T31" fmla="*/ 164 h 164"/>
              <a:gd name="T32" fmla="*/ 36 w 161"/>
              <a:gd name="T33" fmla="*/ 146 h 164"/>
              <a:gd name="T34" fmla="*/ 22 w 161"/>
              <a:gd name="T35" fmla="*/ 128 h 164"/>
              <a:gd name="T36" fmla="*/ 21 w 161"/>
              <a:gd name="T37" fmla="*/ 128 h 164"/>
              <a:gd name="T38" fmla="*/ 21 w 161"/>
              <a:gd name="T39" fmla="*/ 85 h 164"/>
              <a:gd name="T40" fmla="*/ 63 w 161"/>
              <a:gd name="T41" fmla="*/ 85 h 164"/>
              <a:gd name="T42" fmla="*/ 63 w 161"/>
              <a:gd name="T43" fmla="*/ 86 h 164"/>
              <a:gd name="T44" fmla="*/ 80 w 161"/>
              <a:gd name="T45" fmla="*/ 100 h 164"/>
              <a:gd name="T46" fmla="*/ 98 w 161"/>
              <a:gd name="T47" fmla="*/ 86 h 164"/>
              <a:gd name="T48" fmla="*/ 98 w 161"/>
              <a:gd name="T49" fmla="*/ 85 h 164"/>
              <a:gd name="T50" fmla="*/ 143 w 161"/>
              <a:gd name="T51" fmla="*/ 85 h 164"/>
              <a:gd name="T52" fmla="*/ 146 w 161"/>
              <a:gd name="T53" fmla="*/ 82 h 164"/>
              <a:gd name="T54" fmla="*/ 146 w 161"/>
              <a:gd name="T55" fmla="*/ 37 h 164"/>
              <a:gd name="T56" fmla="*/ 146 w 161"/>
              <a:gd name="T57" fmla="*/ 37 h 164"/>
              <a:gd name="T58" fmla="*/ 161 w 161"/>
              <a:gd name="T59" fmla="*/ 19 h 164"/>
              <a:gd name="T60" fmla="*/ 143 w 161"/>
              <a:gd name="T61" fmla="*/ 0 h 164"/>
              <a:gd name="T62" fmla="*/ 30 w 161"/>
              <a:gd name="T63" fmla="*/ 145 h 164"/>
              <a:gd name="T64" fmla="*/ 18 w 161"/>
              <a:gd name="T65" fmla="*/ 157 h 164"/>
              <a:gd name="T66" fmla="*/ 7 w 161"/>
              <a:gd name="T67" fmla="*/ 145 h 164"/>
              <a:gd name="T68" fmla="*/ 18 w 161"/>
              <a:gd name="T69" fmla="*/ 134 h 164"/>
              <a:gd name="T70" fmla="*/ 30 w 161"/>
              <a:gd name="T71" fmla="*/ 145 h 164"/>
              <a:gd name="T72" fmla="*/ 81 w 161"/>
              <a:gd name="T73" fmla="*/ 94 h 164"/>
              <a:gd name="T74" fmla="*/ 69 w 161"/>
              <a:gd name="T75" fmla="*/ 82 h 164"/>
              <a:gd name="T76" fmla="*/ 81 w 161"/>
              <a:gd name="T77" fmla="*/ 70 h 164"/>
              <a:gd name="T78" fmla="*/ 92 w 161"/>
              <a:gd name="T79" fmla="*/ 82 h 164"/>
              <a:gd name="T80" fmla="*/ 81 w 161"/>
              <a:gd name="T81" fmla="*/ 94 h 164"/>
              <a:gd name="T82" fmla="*/ 143 w 161"/>
              <a:gd name="T83" fmla="*/ 30 h 164"/>
              <a:gd name="T84" fmla="*/ 131 w 161"/>
              <a:gd name="T85" fmla="*/ 19 h 164"/>
              <a:gd name="T86" fmla="*/ 143 w 161"/>
              <a:gd name="T87" fmla="*/ 7 h 164"/>
              <a:gd name="T88" fmla="*/ 154 w 161"/>
              <a:gd name="T89" fmla="*/ 19 h 164"/>
              <a:gd name="T90" fmla="*/ 143 w 161"/>
              <a:gd name="T91" fmla="*/ 3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1" h="164">
                <a:moveTo>
                  <a:pt x="143" y="0"/>
                </a:moveTo>
                <a:cubicBezTo>
                  <a:pt x="133" y="0"/>
                  <a:pt x="125" y="9"/>
                  <a:pt x="125" y="19"/>
                </a:cubicBezTo>
                <a:cubicBezTo>
                  <a:pt x="125" y="27"/>
                  <a:pt x="131" y="35"/>
                  <a:pt x="139" y="37"/>
                </a:cubicBezTo>
                <a:cubicBezTo>
                  <a:pt x="140" y="37"/>
                  <a:pt x="140" y="37"/>
                  <a:pt x="140" y="37"/>
                </a:cubicBezTo>
                <a:cubicBezTo>
                  <a:pt x="140" y="79"/>
                  <a:pt x="140" y="79"/>
                  <a:pt x="140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98" y="78"/>
                  <a:pt x="98" y="78"/>
                  <a:pt x="98" y="78"/>
                </a:cubicBezTo>
                <a:cubicBezTo>
                  <a:pt x="96" y="70"/>
                  <a:pt x="89" y="64"/>
                  <a:pt x="80" y="64"/>
                </a:cubicBezTo>
                <a:cubicBezTo>
                  <a:pt x="72" y="64"/>
                  <a:pt x="65" y="70"/>
                  <a:pt x="63" y="78"/>
                </a:cubicBezTo>
                <a:cubicBezTo>
                  <a:pt x="63" y="79"/>
                  <a:pt x="63" y="79"/>
                  <a:pt x="63" y="79"/>
                </a:cubicBezTo>
                <a:cubicBezTo>
                  <a:pt x="18" y="79"/>
                  <a:pt x="18" y="79"/>
                  <a:pt x="18" y="79"/>
                </a:cubicBezTo>
                <a:cubicBezTo>
                  <a:pt x="16" y="79"/>
                  <a:pt x="15" y="80"/>
                  <a:pt x="15" y="82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6" y="129"/>
                  <a:pt x="0" y="137"/>
                  <a:pt x="0" y="146"/>
                </a:cubicBezTo>
                <a:cubicBezTo>
                  <a:pt x="0" y="156"/>
                  <a:pt x="8" y="164"/>
                  <a:pt x="18" y="164"/>
                </a:cubicBezTo>
                <a:cubicBezTo>
                  <a:pt x="28" y="164"/>
                  <a:pt x="36" y="156"/>
                  <a:pt x="36" y="146"/>
                </a:cubicBezTo>
                <a:cubicBezTo>
                  <a:pt x="36" y="137"/>
                  <a:pt x="30" y="129"/>
                  <a:pt x="22" y="128"/>
                </a:cubicBezTo>
                <a:cubicBezTo>
                  <a:pt x="21" y="128"/>
                  <a:pt x="21" y="128"/>
                  <a:pt x="21" y="128"/>
                </a:cubicBezTo>
                <a:cubicBezTo>
                  <a:pt x="21" y="85"/>
                  <a:pt x="21" y="85"/>
                  <a:pt x="21" y="85"/>
                </a:cubicBezTo>
                <a:cubicBezTo>
                  <a:pt x="63" y="85"/>
                  <a:pt x="63" y="85"/>
                  <a:pt x="63" y="85"/>
                </a:cubicBezTo>
                <a:cubicBezTo>
                  <a:pt x="63" y="86"/>
                  <a:pt x="63" y="86"/>
                  <a:pt x="63" y="86"/>
                </a:cubicBezTo>
                <a:cubicBezTo>
                  <a:pt x="65" y="94"/>
                  <a:pt x="72" y="100"/>
                  <a:pt x="80" y="100"/>
                </a:cubicBezTo>
                <a:cubicBezTo>
                  <a:pt x="89" y="100"/>
                  <a:pt x="96" y="94"/>
                  <a:pt x="98" y="86"/>
                </a:cubicBezTo>
                <a:cubicBezTo>
                  <a:pt x="98" y="85"/>
                  <a:pt x="98" y="85"/>
                  <a:pt x="98" y="85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5" y="85"/>
                  <a:pt x="146" y="84"/>
                  <a:pt x="146" y="82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55" y="35"/>
                  <a:pt x="161" y="27"/>
                  <a:pt x="161" y="19"/>
                </a:cubicBezTo>
                <a:cubicBezTo>
                  <a:pt x="161" y="9"/>
                  <a:pt x="153" y="0"/>
                  <a:pt x="143" y="0"/>
                </a:cubicBezTo>
                <a:close/>
                <a:moveTo>
                  <a:pt x="30" y="145"/>
                </a:moveTo>
                <a:cubicBezTo>
                  <a:pt x="30" y="152"/>
                  <a:pt x="24" y="157"/>
                  <a:pt x="18" y="157"/>
                </a:cubicBezTo>
                <a:cubicBezTo>
                  <a:pt x="12" y="157"/>
                  <a:pt x="7" y="152"/>
                  <a:pt x="7" y="145"/>
                </a:cubicBezTo>
                <a:cubicBezTo>
                  <a:pt x="7" y="139"/>
                  <a:pt x="12" y="134"/>
                  <a:pt x="18" y="134"/>
                </a:cubicBezTo>
                <a:cubicBezTo>
                  <a:pt x="24" y="134"/>
                  <a:pt x="30" y="139"/>
                  <a:pt x="30" y="145"/>
                </a:cubicBezTo>
                <a:close/>
                <a:moveTo>
                  <a:pt x="81" y="94"/>
                </a:moveTo>
                <a:cubicBezTo>
                  <a:pt x="74" y="94"/>
                  <a:pt x="69" y="88"/>
                  <a:pt x="69" y="82"/>
                </a:cubicBezTo>
                <a:cubicBezTo>
                  <a:pt x="69" y="76"/>
                  <a:pt x="74" y="70"/>
                  <a:pt x="81" y="70"/>
                </a:cubicBezTo>
                <a:cubicBezTo>
                  <a:pt x="87" y="70"/>
                  <a:pt x="92" y="76"/>
                  <a:pt x="92" y="82"/>
                </a:cubicBezTo>
                <a:cubicBezTo>
                  <a:pt x="92" y="88"/>
                  <a:pt x="87" y="94"/>
                  <a:pt x="81" y="94"/>
                </a:cubicBezTo>
                <a:close/>
                <a:moveTo>
                  <a:pt x="143" y="30"/>
                </a:moveTo>
                <a:cubicBezTo>
                  <a:pt x="137" y="30"/>
                  <a:pt x="131" y="25"/>
                  <a:pt x="131" y="19"/>
                </a:cubicBezTo>
                <a:cubicBezTo>
                  <a:pt x="131" y="12"/>
                  <a:pt x="137" y="7"/>
                  <a:pt x="143" y="7"/>
                </a:cubicBezTo>
                <a:cubicBezTo>
                  <a:pt x="149" y="7"/>
                  <a:pt x="154" y="12"/>
                  <a:pt x="154" y="19"/>
                </a:cubicBezTo>
                <a:cubicBezTo>
                  <a:pt x="154" y="25"/>
                  <a:pt x="149" y="30"/>
                  <a:pt x="143" y="3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89" name="Freeform 9">
            <a:extLst>
              <a:ext uri="{FF2B5EF4-FFF2-40B4-BE49-F238E27FC236}">
                <a16:creationId xmlns:a16="http://schemas.microsoft.com/office/drawing/2014/main" id="{0FD95BCA-D25C-395B-E9B8-070C0FB53F7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6171734" y="3948509"/>
            <a:ext cx="241225" cy="206361"/>
          </a:xfrm>
          <a:custGeom>
            <a:avLst/>
            <a:gdLst>
              <a:gd name="T0" fmla="*/ 143 w 161"/>
              <a:gd name="T1" fmla="*/ 0 h 164"/>
              <a:gd name="T2" fmla="*/ 125 w 161"/>
              <a:gd name="T3" fmla="*/ 19 h 164"/>
              <a:gd name="T4" fmla="*/ 139 w 161"/>
              <a:gd name="T5" fmla="*/ 37 h 164"/>
              <a:gd name="T6" fmla="*/ 140 w 161"/>
              <a:gd name="T7" fmla="*/ 37 h 164"/>
              <a:gd name="T8" fmla="*/ 140 w 161"/>
              <a:gd name="T9" fmla="*/ 79 h 164"/>
              <a:gd name="T10" fmla="*/ 98 w 161"/>
              <a:gd name="T11" fmla="*/ 79 h 164"/>
              <a:gd name="T12" fmla="*/ 98 w 161"/>
              <a:gd name="T13" fmla="*/ 78 h 164"/>
              <a:gd name="T14" fmla="*/ 80 w 161"/>
              <a:gd name="T15" fmla="*/ 64 h 164"/>
              <a:gd name="T16" fmla="*/ 63 w 161"/>
              <a:gd name="T17" fmla="*/ 78 h 164"/>
              <a:gd name="T18" fmla="*/ 63 w 161"/>
              <a:gd name="T19" fmla="*/ 79 h 164"/>
              <a:gd name="T20" fmla="*/ 18 w 161"/>
              <a:gd name="T21" fmla="*/ 79 h 164"/>
              <a:gd name="T22" fmla="*/ 15 w 161"/>
              <a:gd name="T23" fmla="*/ 82 h 164"/>
              <a:gd name="T24" fmla="*/ 15 w 161"/>
              <a:gd name="T25" fmla="*/ 128 h 164"/>
              <a:gd name="T26" fmla="*/ 15 w 161"/>
              <a:gd name="T27" fmla="*/ 128 h 164"/>
              <a:gd name="T28" fmla="*/ 0 w 161"/>
              <a:gd name="T29" fmla="*/ 146 h 164"/>
              <a:gd name="T30" fmla="*/ 18 w 161"/>
              <a:gd name="T31" fmla="*/ 164 h 164"/>
              <a:gd name="T32" fmla="*/ 36 w 161"/>
              <a:gd name="T33" fmla="*/ 146 h 164"/>
              <a:gd name="T34" fmla="*/ 22 w 161"/>
              <a:gd name="T35" fmla="*/ 128 h 164"/>
              <a:gd name="T36" fmla="*/ 21 w 161"/>
              <a:gd name="T37" fmla="*/ 128 h 164"/>
              <a:gd name="T38" fmla="*/ 21 w 161"/>
              <a:gd name="T39" fmla="*/ 85 h 164"/>
              <a:gd name="T40" fmla="*/ 63 w 161"/>
              <a:gd name="T41" fmla="*/ 85 h 164"/>
              <a:gd name="T42" fmla="*/ 63 w 161"/>
              <a:gd name="T43" fmla="*/ 86 h 164"/>
              <a:gd name="T44" fmla="*/ 80 w 161"/>
              <a:gd name="T45" fmla="*/ 100 h 164"/>
              <a:gd name="T46" fmla="*/ 98 w 161"/>
              <a:gd name="T47" fmla="*/ 86 h 164"/>
              <a:gd name="T48" fmla="*/ 98 w 161"/>
              <a:gd name="T49" fmla="*/ 85 h 164"/>
              <a:gd name="T50" fmla="*/ 143 w 161"/>
              <a:gd name="T51" fmla="*/ 85 h 164"/>
              <a:gd name="T52" fmla="*/ 146 w 161"/>
              <a:gd name="T53" fmla="*/ 82 h 164"/>
              <a:gd name="T54" fmla="*/ 146 w 161"/>
              <a:gd name="T55" fmla="*/ 37 h 164"/>
              <a:gd name="T56" fmla="*/ 146 w 161"/>
              <a:gd name="T57" fmla="*/ 37 h 164"/>
              <a:gd name="T58" fmla="*/ 161 w 161"/>
              <a:gd name="T59" fmla="*/ 19 h 164"/>
              <a:gd name="T60" fmla="*/ 143 w 161"/>
              <a:gd name="T61" fmla="*/ 0 h 164"/>
              <a:gd name="T62" fmla="*/ 30 w 161"/>
              <a:gd name="T63" fmla="*/ 145 h 164"/>
              <a:gd name="T64" fmla="*/ 18 w 161"/>
              <a:gd name="T65" fmla="*/ 157 h 164"/>
              <a:gd name="T66" fmla="*/ 7 w 161"/>
              <a:gd name="T67" fmla="*/ 145 h 164"/>
              <a:gd name="T68" fmla="*/ 18 w 161"/>
              <a:gd name="T69" fmla="*/ 134 h 164"/>
              <a:gd name="T70" fmla="*/ 30 w 161"/>
              <a:gd name="T71" fmla="*/ 145 h 164"/>
              <a:gd name="T72" fmla="*/ 81 w 161"/>
              <a:gd name="T73" fmla="*/ 94 h 164"/>
              <a:gd name="T74" fmla="*/ 69 w 161"/>
              <a:gd name="T75" fmla="*/ 82 h 164"/>
              <a:gd name="T76" fmla="*/ 81 w 161"/>
              <a:gd name="T77" fmla="*/ 70 h 164"/>
              <a:gd name="T78" fmla="*/ 92 w 161"/>
              <a:gd name="T79" fmla="*/ 82 h 164"/>
              <a:gd name="T80" fmla="*/ 81 w 161"/>
              <a:gd name="T81" fmla="*/ 94 h 164"/>
              <a:gd name="T82" fmla="*/ 143 w 161"/>
              <a:gd name="T83" fmla="*/ 30 h 164"/>
              <a:gd name="T84" fmla="*/ 131 w 161"/>
              <a:gd name="T85" fmla="*/ 19 h 164"/>
              <a:gd name="T86" fmla="*/ 143 w 161"/>
              <a:gd name="T87" fmla="*/ 7 h 164"/>
              <a:gd name="T88" fmla="*/ 154 w 161"/>
              <a:gd name="T89" fmla="*/ 19 h 164"/>
              <a:gd name="T90" fmla="*/ 143 w 161"/>
              <a:gd name="T91" fmla="*/ 30 h 16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161" h="164">
                <a:moveTo>
                  <a:pt x="143" y="0"/>
                </a:moveTo>
                <a:cubicBezTo>
                  <a:pt x="133" y="0"/>
                  <a:pt x="125" y="9"/>
                  <a:pt x="125" y="19"/>
                </a:cubicBezTo>
                <a:cubicBezTo>
                  <a:pt x="125" y="27"/>
                  <a:pt x="131" y="35"/>
                  <a:pt x="139" y="37"/>
                </a:cubicBezTo>
                <a:cubicBezTo>
                  <a:pt x="140" y="37"/>
                  <a:pt x="140" y="37"/>
                  <a:pt x="140" y="37"/>
                </a:cubicBezTo>
                <a:cubicBezTo>
                  <a:pt x="140" y="79"/>
                  <a:pt x="140" y="79"/>
                  <a:pt x="140" y="79"/>
                </a:cubicBezTo>
                <a:cubicBezTo>
                  <a:pt x="98" y="79"/>
                  <a:pt x="98" y="79"/>
                  <a:pt x="98" y="79"/>
                </a:cubicBezTo>
                <a:cubicBezTo>
                  <a:pt x="98" y="78"/>
                  <a:pt x="98" y="78"/>
                  <a:pt x="98" y="78"/>
                </a:cubicBezTo>
                <a:cubicBezTo>
                  <a:pt x="96" y="70"/>
                  <a:pt x="89" y="64"/>
                  <a:pt x="80" y="64"/>
                </a:cubicBezTo>
                <a:cubicBezTo>
                  <a:pt x="72" y="64"/>
                  <a:pt x="65" y="70"/>
                  <a:pt x="63" y="78"/>
                </a:cubicBezTo>
                <a:cubicBezTo>
                  <a:pt x="63" y="79"/>
                  <a:pt x="63" y="79"/>
                  <a:pt x="63" y="79"/>
                </a:cubicBezTo>
                <a:cubicBezTo>
                  <a:pt x="18" y="79"/>
                  <a:pt x="18" y="79"/>
                  <a:pt x="18" y="79"/>
                </a:cubicBezTo>
                <a:cubicBezTo>
                  <a:pt x="16" y="79"/>
                  <a:pt x="15" y="80"/>
                  <a:pt x="15" y="82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15" y="128"/>
                  <a:pt x="15" y="128"/>
                  <a:pt x="15" y="128"/>
                </a:cubicBezTo>
                <a:cubicBezTo>
                  <a:pt x="6" y="129"/>
                  <a:pt x="0" y="137"/>
                  <a:pt x="0" y="146"/>
                </a:cubicBezTo>
                <a:cubicBezTo>
                  <a:pt x="0" y="156"/>
                  <a:pt x="8" y="164"/>
                  <a:pt x="18" y="164"/>
                </a:cubicBezTo>
                <a:cubicBezTo>
                  <a:pt x="28" y="164"/>
                  <a:pt x="36" y="156"/>
                  <a:pt x="36" y="146"/>
                </a:cubicBezTo>
                <a:cubicBezTo>
                  <a:pt x="36" y="137"/>
                  <a:pt x="30" y="129"/>
                  <a:pt x="22" y="128"/>
                </a:cubicBezTo>
                <a:cubicBezTo>
                  <a:pt x="21" y="128"/>
                  <a:pt x="21" y="128"/>
                  <a:pt x="21" y="128"/>
                </a:cubicBezTo>
                <a:cubicBezTo>
                  <a:pt x="21" y="85"/>
                  <a:pt x="21" y="85"/>
                  <a:pt x="21" y="85"/>
                </a:cubicBezTo>
                <a:cubicBezTo>
                  <a:pt x="63" y="85"/>
                  <a:pt x="63" y="85"/>
                  <a:pt x="63" y="85"/>
                </a:cubicBezTo>
                <a:cubicBezTo>
                  <a:pt x="63" y="86"/>
                  <a:pt x="63" y="86"/>
                  <a:pt x="63" y="86"/>
                </a:cubicBezTo>
                <a:cubicBezTo>
                  <a:pt x="65" y="94"/>
                  <a:pt x="72" y="100"/>
                  <a:pt x="80" y="100"/>
                </a:cubicBezTo>
                <a:cubicBezTo>
                  <a:pt x="89" y="100"/>
                  <a:pt x="96" y="94"/>
                  <a:pt x="98" y="86"/>
                </a:cubicBezTo>
                <a:cubicBezTo>
                  <a:pt x="98" y="85"/>
                  <a:pt x="98" y="85"/>
                  <a:pt x="98" y="85"/>
                </a:cubicBezTo>
                <a:cubicBezTo>
                  <a:pt x="143" y="85"/>
                  <a:pt x="143" y="85"/>
                  <a:pt x="143" y="85"/>
                </a:cubicBezTo>
                <a:cubicBezTo>
                  <a:pt x="145" y="85"/>
                  <a:pt x="146" y="84"/>
                  <a:pt x="146" y="82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46" y="37"/>
                  <a:pt x="146" y="37"/>
                  <a:pt x="146" y="37"/>
                </a:cubicBezTo>
                <a:cubicBezTo>
                  <a:pt x="155" y="35"/>
                  <a:pt x="161" y="27"/>
                  <a:pt x="161" y="19"/>
                </a:cubicBezTo>
                <a:cubicBezTo>
                  <a:pt x="161" y="9"/>
                  <a:pt x="153" y="0"/>
                  <a:pt x="143" y="0"/>
                </a:cubicBezTo>
                <a:close/>
                <a:moveTo>
                  <a:pt x="30" y="145"/>
                </a:moveTo>
                <a:cubicBezTo>
                  <a:pt x="30" y="152"/>
                  <a:pt x="24" y="157"/>
                  <a:pt x="18" y="157"/>
                </a:cubicBezTo>
                <a:cubicBezTo>
                  <a:pt x="12" y="157"/>
                  <a:pt x="7" y="152"/>
                  <a:pt x="7" y="145"/>
                </a:cubicBezTo>
                <a:cubicBezTo>
                  <a:pt x="7" y="139"/>
                  <a:pt x="12" y="134"/>
                  <a:pt x="18" y="134"/>
                </a:cubicBezTo>
                <a:cubicBezTo>
                  <a:pt x="24" y="134"/>
                  <a:pt x="30" y="139"/>
                  <a:pt x="30" y="145"/>
                </a:cubicBezTo>
                <a:close/>
                <a:moveTo>
                  <a:pt x="81" y="94"/>
                </a:moveTo>
                <a:cubicBezTo>
                  <a:pt x="74" y="94"/>
                  <a:pt x="69" y="88"/>
                  <a:pt x="69" y="82"/>
                </a:cubicBezTo>
                <a:cubicBezTo>
                  <a:pt x="69" y="76"/>
                  <a:pt x="74" y="70"/>
                  <a:pt x="81" y="70"/>
                </a:cubicBezTo>
                <a:cubicBezTo>
                  <a:pt x="87" y="70"/>
                  <a:pt x="92" y="76"/>
                  <a:pt x="92" y="82"/>
                </a:cubicBezTo>
                <a:cubicBezTo>
                  <a:pt x="92" y="88"/>
                  <a:pt x="87" y="94"/>
                  <a:pt x="81" y="94"/>
                </a:cubicBezTo>
                <a:close/>
                <a:moveTo>
                  <a:pt x="143" y="30"/>
                </a:moveTo>
                <a:cubicBezTo>
                  <a:pt x="137" y="30"/>
                  <a:pt x="131" y="25"/>
                  <a:pt x="131" y="19"/>
                </a:cubicBezTo>
                <a:cubicBezTo>
                  <a:pt x="131" y="12"/>
                  <a:pt x="137" y="7"/>
                  <a:pt x="143" y="7"/>
                </a:cubicBezTo>
                <a:cubicBezTo>
                  <a:pt x="149" y="7"/>
                  <a:pt x="154" y="12"/>
                  <a:pt x="154" y="19"/>
                </a:cubicBezTo>
                <a:cubicBezTo>
                  <a:pt x="154" y="25"/>
                  <a:pt x="149" y="30"/>
                  <a:pt x="143" y="30"/>
                </a:cubicBezTo>
                <a:close/>
              </a:path>
            </a:pathLst>
          </a:custGeom>
          <a:solidFill>
            <a:schemeClr val="accent4"/>
          </a:solidFill>
          <a:ln>
            <a:noFill/>
          </a:ln>
        </p:spPr>
        <p:txBody>
          <a:bodyPr vert="horz" wrap="square" lIns="58291" tIns="29145" rIns="58291" bIns="29145" numCol="1" anchor="t" anchorCtr="0" compatLnSpc="1">
            <a:prstTxWarp prst="textNoShape">
              <a:avLst/>
            </a:prstTxWarp>
          </a:bodyPr>
          <a:lstStyle/>
          <a:p>
            <a:endParaRPr lang="en-AU" sz="6800"/>
          </a:p>
        </p:txBody>
      </p:sp>
      <p:sp>
        <p:nvSpPr>
          <p:cNvPr id="191" name="TextBox 190">
            <a:extLst>
              <a:ext uri="{FF2B5EF4-FFF2-40B4-BE49-F238E27FC236}">
                <a16:creationId xmlns:a16="http://schemas.microsoft.com/office/drawing/2014/main" id="{8FF1ADC5-B62E-9CAF-0227-EFCDD369237E}"/>
              </a:ext>
            </a:extLst>
          </p:cNvPr>
          <p:cNvSpPr txBox="1"/>
          <p:nvPr/>
        </p:nvSpPr>
        <p:spPr>
          <a:xfrm>
            <a:off x="9044037" y="5758059"/>
            <a:ext cx="1273747" cy="1477328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txBody>
          <a:bodyPr wrap="square">
            <a:spAutoFit/>
          </a:bodyPr>
          <a:lstStyle/>
          <a:p>
            <a:r>
              <a:rPr lang="en-AU" sz="1000" b="1" dirty="0">
                <a:solidFill>
                  <a:srgbClr val="FF0000"/>
                </a:solidFill>
              </a:rPr>
              <a:t>Implementation note </a:t>
            </a:r>
            <a:br>
              <a:rPr lang="en-AU" sz="1000" b="1" dirty="0">
                <a:solidFill>
                  <a:srgbClr val="FF0000"/>
                </a:solidFill>
              </a:rPr>
            </a:br>
            <a:r>
              <a:rPr lang="en-AU" sz="1000" dirty="0">
                <a:solidFill>
                  <a:srgbClr val="FF0000"/>
                </a:solidFill>
              </a:rPr>
              <a:t>(delete before publishing)</a:t>
            </a:r>
          </a:p>
          <a:p>
            <a:r>
              <a:rPr lang="en-AU" sz="1000" dirty="0">
                <a:solidFill>
                  <a:srgbClr val="FF0000"/>
                </a:solidFill>
              </a:rPr>
              <a:t>Text should be updated to reflect the process at your council </a:t>
            </a:r>
          </a:p>
          <a:p>
            <a:endParaRPr lang="en-AU" sz="1000" dirty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364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partment of Transport and Planning">
  <a:themeElements>
    <a:clrScheme name="DoTP-Reshuffle">
      <a:dk1>
        <a:sysClr val="windowText" lastClr="000000"/>
      </a:dk1>
      <a:lt1>
        <a:sysClr val="window" lastClr="FFFFFF"/>
      </a:lt1>
      <a:dk2>
        <a:srgbClr val="00B2A9"/>
      </a:dk2>
      <a:lt2>
        <a:srgbClr val="E1EEF9"/>
      </a:lt2>
      <a:accent1>
        <a:srgbClr val="CEDC00"/>
      </a:accent1>
      <a:accent2>
        <a:srgbClr val="FF9E1B"/>
      </a:accent2>
      <a:accent3>
        <a:srgbClr val="59CDC7"/>
      </a:accent3>
      <a:accent4>
        <a:srgbClr val="B2E8E5"/>
      </a:accent4>
      <a:accent5>
        <a:srgbClr val="009CA1"/>
      </a:accent5>
      <a:accent6>
        <a:srgbClr val="53565A"/>
      </a:accent6>
      <a:hlink>
        <a:srgbClr val="000000"/>
      </a:hlink>
      <a:folHlink>
        <a:srgbClr val="53565A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PT A4 Landscape" id="{438BF162-3764-4584-B0CD-9395A47D9DAF}" vid="{B4B9E902-DE2C-4414-A3CB-8DF8900CC7D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dcb25b9-5e2a-4cbc-a1d6-f53ee7652e42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42BB819AAA975489E33CF0F50496490" ma:contentTypeVersion="10" ma:contentTypeDescription="Create a new document." ma:contentTypeScope="" ma:versionID="e8aed1a0a979e0d4bd7ee35307791cd5">
  <xsd:schema xmlns:xsd="http://www.w3.org/2001/XMLSchema" xmlns:xs="http://www.w3.org/2001/XMLSchema" xmlns:p="http://schemas.microsoft.com/office/2006/metadata/properties" xmlns:ns2="3dcb25b9-5e2a-4cbc-a1d6-f53ee7652e42" targetNamespace="http://schemas.microsoft.com/office/2006/metadata/properties" ma:root="true" ma:fieldsID="bdac9d7d3ad936dc420253b2d2cf3a3d" ns2:_="">
    <xsd:import namespace="3dcb25b9-5e2a-4cbc-a1d6-f53ee7652e42"/>
    <xsd:element name="properties">
      <xsd:complexType>
        <xsd:sequence>
          <xsd:element name="documentManagement">
            <xsd:complexType>
              <xsd:all>
                <xsd:element ref="ns2:lcf76f155ced4ddcb4097134ff3c332f" minOccurs="0"/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ObjectDetectorVersions" minOccurs="0"/>
                <xsd:element ref="ns2:MediaLengthInSecond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dcb25b9-5e2a-4cbc-a1d6-f53ee7652e42" elementFormDefault="qualified">
    <xsd:import namespace="http://schemas.microsoft.com/office/2006/documentManagement/types"/>
    <xsd:import namespace="http://schemas.microsoft.com/office/infopath/2007/PartnerControls"/>
    <xsd:element name="lcf76f155ced4ddcb4097134ff3c332f" ma:index="9" nillable="true" ma:taxonomy="true" ma:internalName="lcf76f155ced4ddcb4097134ff3c332f" ma:taxonomyFieldName="MediaServiceImageTags" ma:displayName="Image Tags" ma:readOnly="false" ma:fieldId="{5cf76f15-5ced-4ddc-b409-7134ff3c332f}" ma:taxonomyMulti="true" ma:sspId="62a39602-bab5-4ac0-a14f-71daef3a253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bjectDetectorVersions" ma:index="16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3CFCEB6C-45F4-4726-B606-B308976B91D3}">
  <ds:schemaRefs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  <ds:schemaRef ds:uri="3dcb25b9-5e2a-4cbc-a1d6-f53ee7652e42"/>
    <ds:schemaRef ds:uri="http://purl.org/dc/terms/"/>
    <ds:schemaRef ds:uri="http://schemas.microsoft.com/office/infopath/2007/PartnerControls"/>
    <ds:schemaRef ds:uri="http://schemas.openxmlformats.org/package/2006/metadata/core-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D10C241-CF37-486A-92AF-39D3BE562BE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dcb25b9-5e2a-4cbc-a1d6-f53ee7652e42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24DF8B4-D5AA-4FD8-8D03-75F97358E056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 2013 - 2022</Template>
  <TotalTime>197</TotalTime>
  <Words>225</Words>
  <Application>Microsoft Office PowerPoint</Application>
  <PresentationFormat>Custom</PresentationFormat>
  <Paragraphs>20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Calibri</vt:lpstr>
      <vt:lpstr>Roboto</vt:lpstr>
      <vt:lpstr>Department of Transport and Planning</vt:lpstr>
      <vt:lpstr>think-cell Slide</vt:lpstr>
      <vt:lpstr>Internal referral process flow</vt:lpstr>
    </vt:vector>
  </TitlesOfParts>
  <Company>Nous Grou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ternal referral process flow</dc:title>
  <dc:creator>Jared Johnson</dc:creator>
  <cp:lastModifiedBy>Alannah Tran</cp:lastModifiedBy>
  <cp:revision>7</cp:revision>
  <dcterms:created xsi:type="dcterms:W3CDTF">2023-03-01T06:12:54Z</dcterms:created>
  <dcterms:modified xsi:type="dcterms:W3CDTF">2023-07-31T01:07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298E819CE1EBB4F8D2096B3E0F0C2911D00920D8938CB0DFF4DA992446D3DD985C2</vt:lpwstr>
  </property>
  <property fmtid="{D5CDD505-2E9C-101B-9397-08002B2CF9AE}" pid="3" name="MediaServiceImageTags">
    <vt:lpwstr/>
  </property>
  <property fmtid="{D5CDD505-2E9C-101B-9397-08002B2CF9AE}" pid="4" name="Records Class Project">
    <vt:lpwstr>13</vt:lpwstr>
  </property>
  <property fmtid="{D5CDD505-2E9C-101B-9397-08002B2CF9AE}" pid="5" name="Dissemination Limiting Marker">
    <vt:lpwstr>2;#FOUO|955eb6fc-b35a-4808-8aa5-31e514fa3f26</vt:lpwstr>
  </property>
  <property fmtid="{D5CDD505-2E9C-101B-9397-08002B2CF9AE}" pid="6" name="Security Classification">
    <vt:lpwstr>1;#Unclassified|7fa379f4-4aba-4692-ab80-7d39d3a23cf4</vt:lpwstr>
  </property>
  <property fmtid="{D5CDD505-2E9C-101B-9397-08002B2CF9AE}" pid="7" name="_dlc_DocIdItemGuid">
    <vt:lpwstr>f7931719-ad95-4ffc-ac24-f404127448da</vt:lpwstr>
  </property>
  <property fmtid="{D5CDD505-2E9C-101B-9397-08002B2CF9AE}" pid="8" name="Record Purpose">
    <vt:lpwstr/>
  </property>
  <property fmtid="{D5CDD505-2E9C-101B-9397-08002B2CF9AE}" pid="9" name="Department Document Type">
    <vt:lpwstr/>
  </property>
  <property fmtid="{D5CDD505-2E9C-101B-9397-08002B2CF9AE}" pid="10" name="MSIP_Label_4257e2ab-f512-40e2-9c9a-c64247360765_Enabled">
    <vt:lpwstr>true</vt:lpwstr>
  </property>
  <property fmtid="{D5CDD505-2E9C-101B-9397-08002B2CF9AE}" pid="11" name="MSIP_Label_4257e2ab-f512-40e2-9c9a-c64247360765_SetDate">
    <vt:lpwstr>2023-06-09T04:50:47Z</vt:lpwstr>
  </property>
  <property fmtid="{D5CDD505-2E9C-101B-9397-08002B2CF9AE}" pid="12" name="MSIP_Label_4257e2ab-f512-40e2-9c9a-c64247360765_Method">
    <vt:lpwstr>Privileged</vt:lpwstr>
  </property>
  <property fmtid="{D5CDD505-2E9C-101B-9397-08002B2CF9AE}" pid="13" name="MSIP_Label_4257e2ab-f512-40e2-9c9a-c64247360765_Name">
    <vt:lpwstr>OFFICIAL</vt:lpwstr>
  </property>
  <property fmtid="{D5CDD505-2E9C-101B-9397-08002B2CF9AE}" pid="14" name="MSIP_Label_4257e2ab-f512-40e2-9c9a-c64247360765_SiteId">
    <vt:lpwstr>e8bdd6f7-fc18-4e48-a554-7f547927223b</vt:lpwstr>
  </property>
  <property fmtid="{D5CDD505-2E9C-101B-9397-08002B2CF9AE}" pid="15" name="MSIP_Label_4257e2ab-f512-40e2-9c9a-c64247360765_ActionId">
    <vt:lpwstr>83d17430-6945-4941-91d0-43a3897334a6</vt:lpwstr>
  </property>
  <property fmtid="{D5CDD505-2E9C-101B-9397-08002B2CF9AE}" pid="16" name="MSIP_Label_4257e2ab-f512-40e2-9c9a-c64247360765_ContentBits">
    <vt:lpwstr>2</vt:lpwstr>
  </property>
</Properties>
</file>